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2.xml" ContentType="application/vnd.openxmlformats-officedocument.presentationml.notesSlide+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notesSlides/notesSlide4.xml" ContentType="application/vnd.openxmlformats-officedocument.presentationml.notesSlide+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8" r:id="rId4"/>
  </p:sldMasterIdLst>
  <p:notesMasterIdLst>
    <p:notesMasterId r:id="rId15"/>
  </p:notesMasterIdLst>
  <p:handoutMasterIdLst>
    <p:handoutMasterId r:id="rId16"/>
  </p:handoutMasterIdLst>
  <p:sldIdLst>
    <p:sldId id="2145705610" r:id="rId5"/>
    <p:sldId id="2145705614" r:id="rId6"/>
    <p:sldId id="2145705662" r:id="rId7"/>
    <p:sldId id="2145705660" r:id="rId8"/>
    <p:sldId id="2145705661" r:id="rId9"/>
    <p:sldId id="2145705653" r:id="rId10"/>
    <p:sldId id="2145705666" r:id="rId11"/>
    <p:sldId id="2145705663" r:id="rId12"/>
    <p:sldId id="2145705668" r:id="rId13"/>
    <p:sldId id="2145705667" r:id="rId14"/>
  </p:sldIdLst>
  <p:sldSz cx="9144000" cy="5143500" type="screen16x9"/>
  <p:notesSz cx="7099300" cy="10234613"/>
  <p:custDataLst>
    <p:tags r:id="rId17"/>
  </p:custDataLst>
  <p:defaultTex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Master" id="{F39C23BA-E92C-0E4F-ABAC-A5A05F109198}">
          <p14:sldIdLst>
            <p14:sldId id="2145705610"/>
            <p14:sldId id="2145705614"/>
            <p14:sldId id="2145705662"/>
            <p14:sldId id="2145705660"/>
            <p14:sldId id="2145705661"/>
            <p14:sldId id="2145705653"/>
            <p14:sldId id="2145705666"/>
            <p14:sldId id="2145705663"/>
            <p14:sldId id="2145705668"/>
            <p14:sldId id="214570566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C5C5"/>
    <a:srgbClr val="D9D9D9"/>
    <a:srgbClr val="FF00FF"/>
    <a:srgbClr val="0078D7"/>
    <a:srgbClr val="9BCAEF"/>
    <a:srgbClr val="ECECEC"/>
    <a:srgbClr val="DA3688"/>
    <a:srgbClr val="6ABFD1"/>
    <a:srgbClr val="6DB7C2"/>
    <a:srgbClr val="4F90A0"/>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79" autoAdjust="0"/>
    <p:restoredTop sz="94249" autoAdjust="0"/>
  </p:normalViewPr>
  <p:slideViewPr>
    <p:cSldViewPr snapToGrid="0" snapToObjects="1" showGuides="1">
      <p:cViewPr varScale="1">
        <p:scale>
          <a:sx n="135" d="100"/>
          <a:sy n="135" d="100"/>
        </p:scale>
        <p:origin x="96" y="114"/>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 d="1"/>
        <a:sy n="1" d="1"/>
      </p:scale>
      <p:origin x="0" y="0"/>
    </p:cViewPr>
  </p:sorterViewPr>
  <p:notesViewPr>
    <p:cSldViewPr snapToGrid="0" snapToObjects="1" showGuides="1">
      <p:cViewPr varScale="1">
        <p:scale>
          <a:sx n="52" d="100"/>
          <a:sy n="52" d="100"/>
        </p:scale>
        <p:origin x="2880"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D9BD5C3-093F-4AA5-B283-70122812DC42}"/>
              </a:ext>
            </a:extLst>
          </p:cNvPr>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de-DE" dirty="0"/>
          </a:p>
        </p:txBody>
      </p:sp>
      <p:sp>
        <p:nvSpPr>
          <p:cNvPr id="3" name="Date Placeholder 2">
            <a:extLst>
              <a:ext uri="{FF2B5EF4-FFF2-40B4-BE49-F238E27FC236}">
                <a16:creationId xmlns:a16="http://schemas.microsoft.com/office/drawing/2014/main" id="{F4320000-6EF9-4597-99E7-295BF1DE99AD}"/>
              </a:ext>
            </a:extLst>
          </p:cNvPr>
          <p:cNvSpPr>
            <a:spLocks noGrp="1"/>
          </p:cNvSpPr>
          <p:nvPr>
            <p:ph type="dt" sz="quarter" idx="1"/>
          </p:nvPr>
        </p:nvSpPr>
        <p:spPr>
          <a:xfrm>
            <a:off x="4021294" y="0"/>
            <a:ext cx="3076363" cy="513508"/>
          </a:xfrm>
          <a:prstGeom prst="rect">
            <a:avLst/>
          </a:prstGeom>
        </p:spPr>
        <p:txBody>
          <a:bodyPr vert="horz" lIns="99048" tIns="49524" rIns="99048" bIns="49524" rtlCol="0"/>
          <a:lstStyle>
            <a:lvl1pPr algn="r">
              <a:defRPr sz="1300"/>
            </a:lvl1pPr>
          </a:lstStyle>
          <a:p>
            <a:fld id="{8674B5BB-3245-4435-8785-568C97AAEB3F}" type="datetimeFigureOut">
              <a:rPr lang="de-DE" smtClean="0"/>
              <a:t>09.04.2024</a:t>
            </a:fld>
            <a:endParaRPr lang="de-DE" dirty="0"/>
          </a:p>
        </p:txBody>
      </p:sp>
      <p:sp>
        <p:nvSpPr>
          <p:cNvPr id="4" name="Footer Placeholder 3">
            <a:extLst>
              <a:ext uri="{FF2B5EF4-FFF2-40B4-BE49-F238E27FC236}">
                <a16:creationId xmlns:a16="http://schemas.microsoft.com/office/drawing/2014/main" id="{7696767B-E2A4-4A93-AD4E-FCE7A2F2D95C}"/>
              </a:ext>
            </a:extLst>
          </p:cNvPr>
          <p:cNvSpPr>
            <a:spLocks noGrp="1"/>
          </p:cNvSpPr>
          <p:nvPr>
            <p:ph type="ftr" sz="quarter" idx="2"/>
          </p:nvPr>
        </p:nvSpPr>
        <p:spPr>
          <a:xfrm>
            <a:off x="0" y="9721107"/>
            <a:ext cx="3076363" cy="513507"/>
          </a:xfrm>
          <a:prstGeom prst="rect">
            <a:avLst/>
          </a:prstGeom>
        </p:spPr>
        <p:txBody>
          <a:bodyPr vert="horz" lIns="99048" tIns="49524" rIns="99048" bIns="49524" rtlCol="0" anchor="b"/>
          <a:lstStyle>
            <a:lvl1pPr algn="l">
              <a:defRPr sz="1300"/>
            </a:lvl1pPr>
          </a:lstStyle>
          <a:p>
            <a:endParaRPr lang="de-DE" dirty="0"/>
          </a:p>
        </p:txBody>
      </p:sp>
      <p:sp>
        <p:nvSpPr>
          <p:cNvPr id="5" name="Slide Number Placeholder 4">
            <a:extLst>
              <a:ext uri="{FF2B5EF4-FFF2-40B4-BE49-F238E27FC236}">
                <a16:creationId xmlns:a16="http://schemas.microsoft.com/office/drawing/2014/main" id="{DEE14316-8C90-4996-AF91-CA37E27FF305}"/>
              </a:ext>
            </a:extLst>
          </p:cNvPr>
          <p:cNvSpPr>
            <a:spLocks noGrp="1"/>
          </p:cNvSpPr>
          <p:nvPr>
            <p:ph type="sldNum" sz="quarter" idx="3"/>
          </p:nvPr>
        </p:nvSpPr>
        <p:spPr>
          <a:xfrm>
            <a:off x="4021294" y="9721107"/>
            <a:ext cx="3076363" cy="513507"/>
          </a:xfrm>
          <a:prstGeom prst="rect">
            <a:avLst/>
          </a:prstGeom>
        </p:spPr>
        <p:txBody>
          <a:bodyPr vert="horz" lIns="99048" tIns="49524" rIns="99048" bIns="49524" rtlCol="0" anchor="b"/>
          <a:lstStyle>
            <a:lvl1pPr algn="r">
              <a:defRPr sz="1300"/>
            </a:lvl1pPr>
          </a:lstStyle>
          <a:p>
            <a:fld id="{3412A0C5-1717-48D3-99FF-D830CE8A3606}" type="slidenum">
              <a:rPr lang="de-DE" smtClean="0"/>
              <a:t>‹Nr.›</a:t>
            </a:fld>
            <a:endParaRPr lang="de-DE" dirty="0"/>
          </a:p>
        </p:txBody>
      </p:sp>
    </p:spTree>
    <p:extLst>
      <p:ext uri="{BB962C8B-B14F-4D97-AF65-F5344CB8AC3E}">
        <p14:creationId xmlns:p14="http://schemas.microsoft.com/office/powerpoint/2010/main" val="31421463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3508"/>
          </a:xfrm>
          <a:prstGeom prst="rect">
            <a:avLst/>
          </a:prstGeom>
        </p:spPr>
        <p:txBody>
          <a:bodyPr vert="horz" lIns="99048" tIns="49524" rIns="99048" bIns="49524" rtlCol="0"/>
          <a:lstStyle>
            <a:lvl1pPr algn="l" rtl="0">
              <a:defRPr sz="1300"/>
            </a:lvl1pPr>
          </a:lstStyle>
          <a:p>
            <a:endParaRPr lang="de-DE" dirty="0"/>
          </a:p>
        </p:txBody>
      </p:sp>
      <p:sp>
        <p:nvSpPr>
          <p:cNvPr id="3" name="Date Placeholder 2"/>
          <p:cNvSpPr>
            <a:spLocks noGrp="1"/>
          </p:cNvSpPr>
          <p:nvPr>
            <p:ph type="dt" idx="1"/>
          </p:nvPr>
        </p:nvSpPr>
        <p:spPr>
          <a:xfrm>
            <a:off x="4021294" y="0"/>
            <a:ext cx="3076363" cy="513508"/>
          </a:xfrm>
          <a:prstGeom prst="rect">
            <a:avLst/>
          </a:prstGeom>
        </p:spPr>
        <p:txBody>
          <a:bodyPr vert="horz" lIns="99048" tIns="49524" rIns="99048" bIns="49524" rtlCol="0"/>
          <a:lstStyle>
            <a:lvl1pPr algn="r" rtl="0">
              <a:defRPr sz="1300"/>
            </a:lvl1pPr>
          </a:lstStyle>
          <a:p>
            <a:fld id="{3579511B-F5CE-464E-B66D-5D988339B672}" type="datetimeFigureOut">
              <a:rPr lang="de-DE" smtClean="0"/>
              <a:pPr/>
              <a:t>09.04.2024</a:t>
            </a:fld>
            <a:endParaRPr lang="de-DE" dirty="0"/>
          </a:p>
        </p:txBody>
      </p:sp>
      <p:sp>
        <p:nvSpPr>
          <p:cNvPr id="4" name="Slide Image Placehold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925407"/>
            <a:ext cx="5679440" cy="4029879"/>
          </a:xfrm>
          <a:prstGeom prst="rect">
            <a:avLst/>
          </a:prstGeom>
        </p:spPr>
        <p:txBody>
          <a:bodyPr vert="horz" lIns="99048" tIns="49524" rIns="99048" bIns="49524" rtlCol="0"/>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Footer Placeholder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rtl="0">
              <a:defRPr sz="1300"/>
            </a:lvl1pPr>
          </a:lstStyle>
          <a:p>
            <a:endParaRPr lang="de-DE" dirty="0"/>
          </a:p>
        </p:txBody>
      </p:sp>
      <p:sp>
        <p:nvSpPr>
          <p:cNvPr id="7" name="Slide Number Placeholder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rtl="0">
              <a:defRPr sz="1300"/>
            </a:lvl1pPr>
          </a:lstStyle>
          <a:p>
            <a:fld id="{6991A0D3-30DD-4B07-A4F9-E4EE344B6183}" type="slidenum">
              <a:rPr lang="de-DE" smtClean="0"/>
              <a:pPr/>
              <a:t>‹Nr.›</a:t>
            </a:fld>
            <a:endParaRPr lang="de-DE" dirty="0"/>
          </a:p>
        </p:txBody>
      </p:sp>
    </p:spTree>
    <p:extLst>
      <p:ext uri="{BB962C8B-B14F-4D97-AF65-F5344CB8AC3E}">
        <p14:creationId xmlns:p14="http://schemas.microsoft.com/office/powerpoint/2010/main" val="3399085512"/>
      </p:ext>
    </p:extLst>
  </p:cSld>
  <p:clrMap bg1="lt1" tx1="dk1" bg2="lt2" tx2="dk2" accent1="accent1" accent2="accent2" accent3="accent3" accent4="accent4" accent5="accent5" accent6="accent6" hlink="hlink" folHlink="folHlink"/>
  <p:notesStyle>
    <a:lvl1pPr marL="0" algn="l" defTabSz="685783" rtl="0" eaLnBrk="1" latinLnBrk="0" hangingPunct="1">
      <a:defRPr sz="900" kern="1200">
        <a:solidFill>
          <a:schemeClr val="tx1"/>
        </a:solidFill>
        <a:latin typeface="+mn-lt"/>
        <a:ea typeface="+mn-ea"/>
        <a:cs typeface="+mn-cs"/>
      </a:defRPr>
    </a:lvl1pPr>
    <a:lvl2pPr marL="342892" algn="l" defTabSz="685783" rtl="0" eaLnBrk="1" latinLnBrk="0" hangingPunct="1">
      <a:defRPr sz="900" kern="1200">
        <a:solidFill>
          <a:schemeClr val="tx1"/>
        </a:solidFill>
        <a:latin typeface="+mn-lt"/>
        <a:ea typeface="+mn-ea"/>
        <a:cs typeface="+mn-cs"/>
      </a:defRPr>
    </a:lvl2pPr>
    <a:lvl3pPr marL="685783" algn="l" defTabSz="685783" rtl="0" eaLnBrk="1" latinLnBrk="0" hangingPunct="1">
      <a:defRPr sz="900" kern="1200">
        <a:solidFill>
          <a:schemeClr val="tx1"/>
        </a:solidFill>
        <a:latin typeface="+mn-lt"/>
        <a:ea typeface="+mn-ea"/>
        <a:cs typeface="+mn-cs"/>
      </a:defRPr>
    </a:lvl3pPr>
    <a:lvl4pPr marL="1028675" algn="l" defTabSz="685783" rtl="0" eaLnBrk="1" latinLnBrk="0" hangingPunct="1">
      <a:defRPr sz="900" kern="1200">
        <a:solidFill>
          <a:schemeClr val="tx1"/>
        </a:solidFill>
        <a:latin typeface="+mn-lt"/>
        <a:ea typeface="+mn-ea"/>
        <a:cs typeface="+mn-cs"/>
      </a:defRPr>
    </a:lvl4pPr>
    <a:lvl5pPr marL="1371566" algn="l" defTabSz="685783" rtl="0" eaLnBrk="1" latinLnBrk="0" hangingPunct="1">
      <a:defRPr sz="900" kern="1200">
        <a:solidFill>
          <a:schemeClr val="tx1"/>
        </a:solidFill>
        <a:latin typeface="+mn-lt"/>
        <a:ea typeface="+mn-ea"/>
        <a:cs typeface="+mn-cs"/>
      </a:defRPr>
    </a:lvl5pPr>
    <a:lvl6pPr marL="1714457" algn="l" defTabSz="685783" rtl="0" eaLnBrk="1" latinLnBrk="0" hangingPunct="1">
      <a:defRPr sz="900" kern="1200">
        <a:solidFill>
          <a:schemeClr val="tx1"/>
        </a:solidFill>
        <a:latin typeface="+mn-lt"/>
        <a:ea typeface="+mn-ea"/>
        <a:cs typeface="+mn-cs"/>
      </a:defRPr>
    </a:lvl6pPr>
    <a:lvl7pPr marL="2057348" algn="l" defTabSz="685783" rtl="0" eaLnBrk="1" latinLnBrk="0" hangingPunct="1">
      <a:defRPr sz="900" kern="1200">
        <a:solidFill>
          <a:schemeClr val="tx1"/>
        </a:solidFill>
        <a:latin typeface="+mn-lt"/>
        <a:ea typeface="+mn-ea"/>
        <a:cs typeface="+mn-cs"/>
      </a:defRPr>
    </a:lvl7pPr>
    <a:lvl8pPr marL="2400240" algn="l" defTabSz="685783" rtl="0" eaLnBrk="1" latinLnBrk="0" hangingPunct="1">
      <a:defRPr sz="900" kern="1200">
        <a:solidFill>
          <a:schemeClr val="tx1"/>
        </a:solidFill>
        <a:latin typeface="+mn-lt"/>
        <a:ea typeface="+mn-ea"/>
        <a:cs typeface="+mn-cs"/>
      </a:defRPr>
    </a:lvl8pPr>
    <a:lvl9pPr marL="2743132" algn="l" defTabSz="685783"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6991A0D3-30DD-4B07-A4F9-E4EE344B6183}" type="slidenum">
              <a:rPr lang="de-DE" smtClean="0"/>
              <a:pPr/>
              <a:t>1</a:t>
            </a:fld>
            <a:endParaRPr lang="de-DE"/>
          </a:p>
        </p:txBody>
      </p:sp>
    </p:spTree>
    <p:extLst>
      <p:ext uri="{BB962C8B-B14F-4D97-AF65-F5344CB8AC3E}">
        <p14:creationId xmlns:p14="http://schemas.microsoft.com/office/powerpoint/2010/main" val="3296774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6991A0D3-30DD-4B07-A4F9-E4EE344B6183}" type="slidenum">
              <a:rPr lang="de-DE" smtClean="0"/>
              <a:pPr/>
              <a:t>3</a:t>
            </a:fld>
            <a:endParaRPr lang="de-DE"/>
          </a:p>
        </p:txBody>
      </p:sp>
    </p:spTree>
    <p:extLst>
      <p:ext uri="{BB962C8B-B14F-4D97-AF65-F5344CB8AC3E}">
        <p14:creationId xmlns:p14="http://schemas.microsoft.com/office/powerpoint/2010/main" val="39459660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6991A0D3-30DD-4B07-A4F9-E4EE344B6183}" type="slidenum">
              <a:rPr lang="de-DE" smtClean="0"/>
              <a:pPr/>
              <a:t>4</a:t>
            </a:fld>
            <a:endParaRPr lang="de-DE"/>
          </a:p>
        </p:txBody>
      </p:sp>
    </p:spTree>
    <p:extLst>
      <p:ext uri="{BB962C8B-B14F-4D97-AF65-F5344CB8AC3E}">
        <p14:creationId xmlns:p14="http://schemas.microsoft.com/office/powerpoint/2010/main" val="16468755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6991A0D3-30DD-4B07-A4F9-E4EE344B6183}" type="slidenum">
              <a:rPr lang="de-DE" smtClean="0"/>
              <a:pPr/>
              <a:t>5</a:t>
            </a:fld>
            <a:endParaRPr lang="de-DE"/>
          </a:p>
        </p:txBody>
      </p:sp>
    </p:spTree>
    <p:extLst>
      <p:ext uri="{BB962C8B-B14F-4D97-AF65-F5344CB8AC3E}">
        <p14:creationId xmlns:p14="http://schemas.microsoft.com/office/powerpoint/2010/main" val="3199770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6991A0D3-30DD-4B07-A4F9-E4EE344B6183}" type="slidenum">
              <a:rPr lang="de-DE" smtClean="0"/>
              <a:pPr/>
              <a:t>6</a:t>
            </a:fld>
            <a:endParaRPr lang="de-DE"/>
          </a:p>
        </p:txBody>
      </p:sp>
    </p:spTree>
    <p:extLst>
      <p:ext uri="{BB962C8B-B14F-4D97-AF65-F5344CB8AC3E}">
        <p14:creationId xmlns:p14="http://schemas.microsoft.com/office/powerpoint/2010/main" val="33011893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6991A0D3-30DD-4B07-A4F9-E4EE344B6183}" type="slidenum">
              <a:rPr lang="de-DE" smtClean="0"/>
              <a:pPr/>
              <a:t>10</a:t>
            </a:fld>
            <a:endParaRPr lang="de-DE"/>
          </a:p>
        </p:txBody>
      </p:sp>
    </p:spTree>
    <p:extLst>
      <p:ext uri="{BB962C8B-B14F-4D97-AF65-F5344CB8AC3E}">
        <p14:creationId xmlns:p14="http://schemas.microsoft.com/office/powerpoint/2010/main" val="18604207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7.bin"/><Relationship Id="rId9"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8.bin"/><Relationship Id="rId9"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 Horizontale Ausrichtu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7AD15DB-6C5F-413D-A194-0EF2FCB322C4}"/>
              </a:ext>
            </a:extLst>
          </p:cNvPr>
          <p:cNvGraphicFramePr>
            <a:graphicFrameLocks noChangeAspect="1"/>
          </p:cNvGraphicFramePr>
          <p:nvPr userDrawn="1">
            <p:custDataLst>
              <p:tags r:id="rId2"/>
            </p:custDataLst>
            <p:extLst>
              <p:ext uri="{D42A27DB-BD31-4B8C-83A1-F6EECF244321}">
                <p14:modId xmlns:p14="http://schemas.microsoft.com/office/powerpoint/2010/main" val="3335137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619"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8E9C91F6-93B1-4DC9-8A87-4A80D1D5E46D}"/>
              </a:ext>
            </a:extLst>
          </p:cNvPr>
          <p:cNvSpPr/>
          <p:nvPr/>
        </p:nvSpPr>
        <p:spPr>
          <a:xfrm flipV="1">
            <a:off x="620366" y="2580951"/>
            <a:ext cx="603598" cy="603018"/>
          </a:xfrm>
          <a:prstGeom prst="rect">
            <a:avLst/>
          </a:prstGeom>
          <a:solidFill>
            <a:schemeClr val="accent6"/>
          </a:solidFill>
          <a:ln w="2251" cap="flat">
            <a:noFill/>
            <a:prstDash val="solid"/>
            <a:miter/>
          </a:ln>
        </p:spPr>
        <p:txBody>
          <a:bodyPr rtlCol="0" anchor="ctr"/>
          <a:lstStyle/>
          <a:p>
            <a:endParaRPr lang="de-DE" dirty="0"/>
          </a:p>
        </p:txBody>
      </p:sp>
      <p:sp>
        <p:nvSpPr>
          <p:cNvPr id="35" name="Picture Placeholder 34">
            <a:extLst>
              <a:ext uri="{FF2B5EF4-FFF2-40B4-BE49-F238E27FC236}">
                <a16:creationId xmlns:a16="http://schemas.microsoft.com/office/drawing/2014/main" id="{A54FE46E-8E13-4C88-BFE2-46A1AC0CEB44}"/>
              </a:ext>
            </a:extLst>
          </p:cNvPr>
          <p:cNvSpPr>
            <a:spLocks noGrp="1"/>
          </p:cNvSpPr>
          <p:nvPr>
            <p:ph type="pic" sz="quarter" idx="18" hasCustomPrompt="1"/>
          </p:nvPr>
        </p:nvSpPr>
        <p:spPr>
          <a:xfrm>
            <a:off x="0" y="0"/>
            <a:ext cx="9144000" cy="5143500"/>
          </a:xfrm>
          <a:custGeom>
            <a:avLst/>
            <a:gdLst>
              <a:gd name="connsiteX0" fmla="*/ 922165 w 9144000"/>
              <a:gd name="connsiteY0" fmla="*/ 3061411 h 5143500"/>
              <a:gd name="connsiteX1" fmla="*/ 870998 w 9144000"/>
              <a:gd name="connsiteY1" fmla="*/ 3112578 h 5143500"/>
              <a:gd name="connsiteX2" fmla="*/ 922165 w 9144000"/>
              <a:gd name="connsiteY2" fmla="*/ 3163745 h 5143500"/>
              <a:gd name="connsiteX3" fmla="*/ 973334 w 9144000"/>
              <a:gd name="connsiteY3" fmla="*/ 3112578 h 5143500"/>
              <a:gd name="connsiteX4" fmla="*/ 922165 w 9144000"/>
              <a:gd name="connsiteY4" fmla="*/ 3061411 h 5143500"/>
              <a:gd name="connsiteX5" fmla="*/ 1152553 w 9144000"/>
              <a:gd name="connsiteY5" fmla="*/ 2831294 h 5143500"/>
              <a:gd name="connsiteX6" fmla="*/ 1101386 w 9144000"/>
              <a:gd name="connsiteY6" fmla="*/ 2882461 h 5143500"/>
              <a:gd name="connsiteX7" fmla="*/ 1152553 w 9144000"/>
              <a:gd name="connsiteY7" fmla="*/ 2933628 h 5143500"/>
              <a:gd name="connsiteX8" fmla="*/ 1203720 w 9144000"/>
              <a:gd name="connsiteY8" fmla="*/ 2882461 h 5143500"/>
              <a:gd name="connsiteX9" fmla="*/ 1152553 w 9144000"/>
              <a:gd name="connsiteY9" fmla="*/ 2831294 h 5143500"/>
              <a:gd name="connsiteX10" fmla="*/ 691776 w 9144000"/>
              <a:gd name="connsiteY10" fmla="*/ 2831294 h 5143500"/>
              <a:gd name="connsiteX11" fmla="*/ 640609 w 9144000"/>
              <a:gd name="connsiteY11" fmla="*/ 2882461 h 5143500"/>
              <a:gd name="connsiteX12" fmla="*/ 691776 w 9144000"/>
              <a:gd name="connsiteY12" fmla="*/ 2933628 h 5143500"/>
              <a:gd name="connsiteX13" fmla="*/ 742943 w 9144000"/>
              <a:gd name="connsiteY13" fmla="*/ 2882461 h 5143500"/>
              <a:gd name="connsiteX14" fmla="*/ 691776 w 9144000"/>
              <a:gd name="connsiteY14" fmla="*/ 2831294 h 5143500"/>
              <a:gd name="connsiteX15" fmla="*/ 922236 w 9144000"/>
              <a:gd name="connsiteY15" fmla="*/ 2722546 h 5143500"/>
              <a:gd name="connsiteX16" fmla="*/ 871069 w 9144000"/>
              <a:gd name="connsiteY16" fmla="*/ 2773711 h 5143500"/>
              <a:gd name="connsiteX17" fmla="*/ 871069 w 9144000"/>
              <a:gd name="connsiteY17" fmla="*/ 2780103 h 5143500"/>
              <a:gd name="connsiteX18" fmla="*/ 819902 w 9144000"/>
              <a:gd name="connsiteY18" fmla="*/ 2831270 h 5143500"/>
              <a:gd name="connsiteX19" fmla="*/ 813505 w 9144000"/>
              <a:gd name="connsiteY19" fmla="*/ 2831272 h 5143500"/>
              <a:gd name="connsiteX20" fmla="*/ 762338 w 9144000"/>
              <a:gd name="connsiteY20" fmla="*/ 2882439 h 5143500"/>
              <a:gd name="connsiteX21" fmla="*/ 813505 w 9144000"/>
              <a:gd name="connsiteY21" fmla="*/ 2933606 h 5143500"/>
              <a:gd name="connsiteX22" fmla="*/ 819902 w 9144000"/>
              <a:gd name="connsiteY22" fmla="*/ 2933606 h 5143500"/>
              <a:gd name="connsiteX23" fmla="*/ 871069 w 9144000"/>
              <a:gd name="connsiteY23" fmla="*/ 2984773 h 5143500"/>
              <a:gd name="connsiteX24" fmla="*/ 871069 w 9144000"/>
              <a:gd name="connsiteY24" fmla="*/ 2991165 h 5143500"/>
              <a:gd name="connsiteX25" fmla="*/ 922236 w 9144000"/>
              <a:gd name="connsiteY25" fmla="*/ 3042334 h 5143500"/>
              <a:gd name="connsiteX26" fmla="*/ 973405 w 9144000"/>
              <a:gd name="connsiteY26" fmla="*/ 2991165 h 5143500"/>
              <a:gd name="connsiteX27" fmla="*/ 973405 w 9144000"/>
              <a:gd name="connsiteY27" fmla="*/ 2984773 h 5143500"/>
              <a:gd name="connsiteX28" fmla="*/ 1024574 w 9144000"/>
              <a:gd name="connsiteY28" fmla="*/ 2933606 h 5143500"/>
              <a:gd name="connsiteX29" fmla="*/ 1030964 w 9144000"/>
              <a:gd name="connsiteY29" fmla="*/ 2933606 h 5143500"/>
              <a:gd name="connsiteX30" fmla="*/ 1082133 w 9144000"/>
              <a:gd name="connsiteY30" fmla="*/ 2882439 h 5143500"/>
              <a:gd name="connsiteX31" fmla="*/ 1030964 w 9144000"/>
              <a:gd name="connsiteY31" fmla="*/ 2831272 h 5143500"/>
              <a:gd name="connsiteX32" fmla="*/ 1024574 w 9144000"/>
              <a:gd name="connsiteY32" fmla="*/ 2831272 h 5143500"/>
              <a:gd name="connsiteX33" fmla="*/ 973405 w 9144000"/>
              <a:gd name="connsiteY33" fmla="*/ 2780103 h 5143500"/>
              <a:gd name="connsiteX34" fmla="*/ 973405 w 9144000"/>
              <a:gd name="connsiteY34" fmla="*/ 2773711 h 5143500"/>
              <a:gd name="connsiteX35" fmla="*/ 922236 w 9144000"/>
              <a:gd name="connsiteY35" fmla="*/ 2722546 h 5143500"/>
              <a:gd name="connsiteX36" fmla="*/ 922165 w 9144000"/>
              <a:gd name="connsiteY36" fmla="*/ 2601175 h 5143500"/>
              <a:gd name="connsiteX37" fmla="*/ 870998 w 9144000"/>
              <a:gd name="connsiteY37" fmla="*/ 2652342 h 5143500"/>
              <a:gd name="connsiteX38" fmla="*/ 922165 w 9144000"/>
              <a:gd name="connsiteY38" fmla="*/ 2703509 h 5143500"/>
              <a:gd name="connsiteX39" fmla="*/ 973334 w 9144000"/>
              <a:gd name="connsiteY39" fmla="*/ 2652342 h 5143500"/>
              <a:gd name="connsiteX40" fmla="*/ 922165 w 9144000"/>
              <a:gd name="connsiteY40" fmla="*/ 2601175 h 5143500"/>
              <a:gd name="connsiteX41" fmla="*/ 366713 w 9144000"/>
              <a:gd name="connsiteY41" fmla="*/ 0 h 5143500"/>
              <a:gd name="connsiteX42" fmla="*/ 7513547 w 9144000"/>
              <a:gd name="connsiteY42" fmla="*/ 0 h 5143500"/>
              <a:gd name="connsiteX43" fmla="*/ 7513547 w 9144000"/>
              <a:gd name="connsiteY43" fmla="*/ 411479 h 5143500"/>
              <a:gd name="connsiteX44" fmla="*/ 8778239 w 9144000"/>
              <a:gd name="connsiteY44" fmla="*/ 411479 h 5143500"/>
              <a:gd name="connsiteX45" fmla="*/ 8778239 w 9144000"/>
              <a:gd name="connsiteY45" fmla="*/ 0 h 5143500"/>
              <a:gd name="connsiteX46" fmla="*/ 9144000 w 9144000"/>
              <a:gd name="connsiteY46" fmla="*/ 0 h 5143500"/>
              <a:gd name="connsiteX47" fmla="*/ 9144000 w 9144000"/>
              <a:gd name="connsiteY47" fmla="*/ 5143500 h 5143500"/>
              <a:gd name="connsiteX48" fmla="*/ 0 w 9144000"/>
              <a:gd name="connsiteY48" fmla="*/ 5143500 h 5143500"/>
              <a:gd name="connsiteX49" fmla="*/ 0 w 9144000"/>
              <a:gd name="connsiteY49" fmla="*/ 204789 h 5143500"/>
              <a:gd name="connsiteX50" fmla="*/ 366713 w 9144000"/>
              <a:gd name="connsiteY50" fmla="*/ 20478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144000" h="5143500">
                <a:moveTo>
                  <a:pt x="922165" y="3061411"/>
                </a:moveTo>
                <a:cubicBezTo>
                  <a:pt x="893907" y="3061411"/>
                  <a:pt x="870998" y="3084320"/>
                  <a:pt x="870998" y="3112578"/>
                </a:cubicBezTo>
                <a:cubicBezTo>
                  <a:pt x="870998" y="3140839"/>
                  <a:pt x="893907" y="3163745"/>
                  <a:pt x="922165" y="3163745"/>
                </a:cubicBezTo>
                <a:cubicBezTo>
                  <a:pt x="950428" y="3163745"/>
                  <a:pt x="973334" y="3140839"/>
                  <a:pt x="973334" y="3112578"/>
                </a:cubicBezTo>
                <a:cubicBezTo>
                  <a:pt x="973334" y="3084320"/>
                  <a:pt x="950428" y="3061411"/>
                  <a:pt x="922165" y="3061411"/>
                </a:cubicBezTo>
                <a:close/>
                <a:moveTo>
                  <a:pt x="1152553" y="2831294"/>
                </a:moveTo>
                <a:cubicBezTo>
                  <a:pt x="1124295" y="2831294"/>
                  <a:pt x="1101386" y="2854203"/>
                  <a:pt x="1101386" y="2882461"/>
                </a:cubicBezTo>
                <a:cubicBezTo>
                  <a:pt x="1101386" y="2910722"/>
                  <a:pt x="1124295" y="2933628"/>
                  <a:pt x="1152553" y="2933628"/>
                </a:cubicBezTo>
                <a:cubicBezTo>
                  <a:pt x="1180814" y="2933628"/>
                  <a:pt x="1203720" y="2910722"/>
                  <a:pt x="1203720" y="2882461"/>
                </a:cubicBezTo>
                <a:cubicBezTo>
                  <a:pt x="1203720" y="2854203"/>
                  <a:pt x="1180814" y="2831294"/>
                  <a:pt x="1152553" y="2831294"/>
                </a:cubicBezTo>
                <a:close/>
                <a:moveTo>
                  <a:pt x="691776" y="2831294"/>
                </a:moveTo>
                <a:cubicBezTo>
                  <a:pt x="663518" y="2831294"/>
                  <a:pt x="640609" y="2854203"/>
                  <a:pt x="640609" y="2882461"/>
                </a:cubicBezTo>
                <a:cubicBezTo>
                  <a:pt x="640609" y="2910722"/>
                  <a:pt x="663518" y="2933628"/>
                  <a:pt x="691776" y="2933628"/>
                </a:cubicBezTo>
                <a:cubicBezTo>
                  <a:pt x="720037" y="2933628"/>
                  <a:pt x="742943" y="2910722"/>
                  <a:pt x="742943" y="2882461"/>
                </a:cubicBezTo>
                <a:cubicBezTo>
                  <a:pt x="742943" y="2854203"/>
                  <a:pt x="720037" y="2831294"/>
                  <a:pt x="691776" y="2831294"/>
                </a:cubicBezTo>
                <a:close/>
                <a:moveTo>
                  <a:pt x="922236" y="2722546"/>
                </a:moveTo>
                <a:cubicBezTo>
                  <a:pt x="893980" y="2722546"/>
                  <a:pt x="871069" y="2745455"/>
                  <a:pt x="871069" y="2773711"/>
                </a:cubicBezTo>
                <a:lnTo>
                  <a:pt x="871069" y="2780103"/>
                </a:lnTo>
                <a:cubicBezTo>
                  <a:pt x="871069" y="2808366"/>
                  <a:pt x="848162" y="2831270"/>
                  <a:pt x="819902" y="2831270"/>
                </a:cubicBezTo>
                <a:lnTo>
                  <a:pt x="813505" y="2831272"/>
                </a:lnTo>
                <a:cubicBezTo>
                  <a:pt x="785247" y="2831272"/>
                  <a:pt x="762338" y="2854178"/>
                  <a:pt x="762338" y="2882439"/>
                </a:cubicBezTo>
                <a:cubicBezTo>
                  <a:pt x="762338" y="2910700"/>
                  <a:pt x="785247" y="2933606"/>
                  <a:pt x="813505" y="2933606"/>
                </a:cubicBezTo>
                <a:lnTo>
                  <a:pt x="819902" y="2933606"/>
                </a:lnTo>
                <a:cubicBezTo>
                  <a:pt x="848162" y="2933606"/>
                  <a:pt x="871069" y="2956512"/>
                  <a:pt x="871069" y="2984773"/>
                </a:cubicBezTo>
                <a:lnTo>
                  <a:pt x="871069" y="2991165"/>
                </a:lnTo>
                <a:cubicBezTo>
                  <a:pt x="871069" y="3019428"/>
                  <a:pt x="893980" y="3042334"/>
                  <a:pt x="922236" y="3042334"/>
                </a:cubicBezTo>
                <a:cubicBezTo>
                  <a:pt x="950499" y="3042334"/>
                  <a:pt x="973405" y="3019428"/>
                  <a:pt x="973405" y="2991165"/>
                </a:cubicBezTo>
                <a:lnTo>
                  <a:pt x="973405" y="2984773"/>
                </a:lnTo>
                <a:cubicBezTo>
                  <a:pt x="973405" y="2956512"/>
                  <a:pt x="996313" y="2933606"/>
                  <a:pt x="1024574" y="2933606"/>
                </a:cubicBezTo>
                <a:lnTo>
                  <a:pt x="1030964" y="2933606"/>
                </a:lnTo>
                <a:cubicBezTo>
                  <a:pt x="1059225" y="2933606"/>
                  <a:pt x="1082133" y="2910700"/>
                  <a:pt x="1082133" y="2882439"/>
                </a:cubicBezTo>
                <a:cubicBezTo>
                  <a:pt x="1082133" y="2854178"/>
                  <a:pt x="1059225" y="2831272"/>
                  <a:pt x="1030964" y="2831272"/>
                </a:cubicBezTo>
                <a:lnTo>
                  <a:pt x="1024574" y="2831272"/>
                </a:lnTo>
                <a:cubicBezTo>
                  <a:pt x="996313" y="2831272"/>
                  <a:pt x="973405" y="2808366"/>
                  <a:pt x="973405" y="2780103"/>
                </a:cubicBezTo>
                <a:lnTo>
                  <a:pt x="973405" y="2773711"/>
                </a:lnTo>
                <a:cubicBezTo>
                  <a:pt x="973405" y="2745455"/>
                  <a:pt x="950499" y="2722546"/>
                  <a:pt x="922236" y="2722546"/>
                </a:cubicBezTo>
                <a:close/>
                <a:moveTo>
                  <a:pt x="922165" y="2601175"/>
                </a:moveTo>
                <a:cubicBezTo>
                  <a:pt x="893907" y="2601175"/>
                  <a:pt x="870998" y="2624084"/>
                  <a:pt x="870998" y="2652342"/>
                </a:cubicBezTo>
                <a:cubicBezTo>
                  <a:pt x="870998" y="2680603"/>
                  <a:pt x="893907" y="2703509"/>
                  <a:pt x="922165" y="2703509"/>
                </a:cubicBezTo>
                <a:cubicBezTo>
                  <a:pt x="950428" y="2703509"/>
                  <a:pt x="973334" y="2680603"/>
                  <a:pt x="973334" y="2652342"/>
                </a:cubicBezTo>
                <a:cubicBezTo>
                  <a:pt x="973334" y="2624084"/>
                  <a:pt x="950428" y="2601175"/>
                  <a:pt x="922165" y="2601175"/>
                </a:cubicBezTo>
                <a:close/>
                <a:moveTo>
                  <a:pt x="366713" y="0"/>
                </a:moveTo>
                <a:lnTo>
                  <a:pt x="7513547" y="0"/>
                </a:lnTo>
                <a:lnTo>
                  <a:pt x="7513547" y="411479"/>
                </a:lnTo>
                <a:lnTo>
                  <a:pt x="8778239" y="411479"/>
                </a:lnTo>
                <a:lnTo>
                  <a:pt x="8778239" y="0"/>
                </a:lnTo>
                <a:lnTo>
                  <a:pt x="9144000" y="0"/>
                </a:lnTo>
                <a:lnTo>
                  <a:pt x="9144000" y="5143500"/>
                </a:lnTo>
                <a:lnTo>
                  <a:pt x="0" y="5143500"/>
                </a:lnTo>
                <a:lnTo>
                  <a:pt x="0" y="204789"/>
                </a:lnTo>
                <a:lnTo>
                  <a:pt x="366713" y="204789"/>
                </a:lnTo>
                <a:close/>
              </a:path>
            </a:pathLst>
          </a:custGeom>
          <a:blipFill>
            <a:blip r:embed="rId6"/>
            <a:stretch>
              <a:fillRect/>
            </a:stretch>
          </a:blipFill>
        </p:spPr>
        <p:txBody>
          <a:bodyPr wrap="square" bIns="2412000" anchor="ctr">
            <a:noAutofit/>
          </a:bodyPr>
          <a:lstStyle>
            <a:lvl1pPr marL="0" indent="0" algn="ctr" rtl="0">
              <a:buNone/>
              <a:defRPr>
                <a:solidFill>
                  <a:schemeClr val="bg1"/>
                </a:solidFill>
              </a:defRPr>
            </a:lvl1pPr>
          </a:lstStyle>
          <a:p>
            <a:r>
              <a:rPr lang="de-DE" dirty="0"/>
              <a:t>Bild hinzufügen</a:t>
            </a:r>
          </a:p>
        </p:txBody>
      </p:sp>
      <p:pic>
        <p:nvPicPr>
          <p:cNvPr id="14" name="Graphic 13">
            <a:extLst>
              <a:ext uri="{FF2B5EF4-FFF2-40B4-BE49-F238E27FC236}">
                <a16:creationId xmlns:a16="http://schemas.microsoft.com/office/drawing/2014/main" id="{43CD198E-4F0F-457A-9B03-F4B60CE74421}"/>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513547" y="0"/>
            <a:ext cx="1264692" cy="411479"/>
          </a:xfrm>
          <a:prstGeom prst="rect">
            <a:avLst/>
          </a:prstGeom>
        </p:spPr>
      </p:pic>
      <p:sp>
        <p:nvSpPr>
          <p:cNvPr id="36" name="Title 35">
            <a:extLst>
              <a:ext uri="{FF2B5EF4-FFF2-40B4-BE49-F238E27FC236}">
                <a16:creationId xmlns:a16="http://schemas.microsoft.com/office/drawing/2014/main" id="{347F44CC-485D-4D89-A71E-5EB4D6FBE29F}"/>
              </a:ext>
            </a:extLst>
          </p:cNvPr>
          <p:cNvSpPr>
            <a:spLocks noGrp="1"/>
          </p:cNvSpPr>
          <p:nvPr>
            <p:ph type="ctrTitle" hasCustomPrompt="1"/>
          </p:nvPr>
        </p:nvSpPr>
        <p:spPr>
          <a:xfrm>
            <a:off x="366713" y="2880355"/>
            <a:ext cx="8410575" cy="1851664"/>
          </a:xfrm>
          <a:custGeom>
            <a:avLst/>
            <a:gdLst>
              <a:gd name="connsiteX0" fmla="*/ 555452 w 8410575"/>
              <a:gd name="connsiteY0" fmla="*/ 181056 h 1851664"/>
              <a:gd name="connsiteX1" fmla="*/ 504285 w 8410575"/>
              <a:gd name="connsiteY1" fmla="*/ 232223 h 1851664"/>
              <a:gd name="connsiteX2" fmla="*/ 555452 w 8410575"/>
              <a:gd name="connsiteY2" fmla="*/ 283390 h 1851664"/>
              <a:gd name="connsiteX3" fmla="*/ 606621 w 8410575"/>
              <a:gd name="connsiteY3" fmla="*/ 232223 h 1851664"/>
              <a:gd name="connsiteX4" fmla="*/ 555452 w 8410575"/>
              <a:gd name="connsiteY4" fmla="*/ 181056 h 1851664"/>
              <a:gd name="connsiteX5" fmla="*/ 0 w 8410575"/>
              <a:gd name="connsiteY5" fmla="*/ 0 h 1851664"/>
              <a:gd name="connsiteX6" fmla="*/ 274769 w 8410575"/>
              <a:gd name="connsiteY6" fmla="*/ 0 h 1851664"/>
              <a:gd name="connsiteX7" fmla="*/ 273896 w 8410575"/>
              <a:gd name="connsiteY7" fmla="*/ 2106 h 1851664"/>
              <a:gd name="connsiteX8" fmla="*/ 325063 w 8410575"/>
              <a:gd name="connsiteY8" fmla="*/ 53273 h 1851664"/>
              <a:gd name="connsiteX9" fmla="*/ 376230 w 8410575"/>
              <a:gd name="connsiteY9" fmla="*/ 2106 h 1851664"/>
              <a:gd name="connsiteX10" fmla="*/ 375358 w 8410575"/>
              <a:gd name="connsiteY10" fmla="*/ 0 h 1851664"/>
              <a:gd name="connsiteX11" fmla="*/ 396488 w 8410575"/>
              <a:gd name="connsiteY11" fmla="*/ 0 h 1851664"/>
              <a:gd name="connsiteX12" fmla="*/ 395625 w 8410575"/>
              <a:gd name="connsiteY12" fmla="*/ 2084 h 1851664"/>
              <a:gd name="connsiteX13" fmla="*/ 446792 w 8410575"/>
              <a:gd name="connsiteY13" fmla="*/ 53251 h 1851664"/>
              <a:gd name="connsiteX14" fmla="*/ 453189 w 8410575"/>
              <a:gd name="connsiteY14" fmla="*/ 53251 h 1851664"/>
              <a:gd name="connsiteX15" fmla="*/ 504356 w 8410575"/>
              <a:gd name="connsiteY15" fmla="*/ 104418 h 1851664"/>
              <a:gd name="connsiteX16" fmla="*/ 504356 w 8410575"/>
              <a:gd name="connsiteY16" fmla="*/ 110810 h 1851664"/>
              <a:gd name="connsiteX17" fmla="*/ 555523 w 8410575"/>
              <a:gd name="connsiteY17" fmla="*/ 161979 h 1851664"/>
              <a:gd name="connsiteX18" fmla="*/ 606692 w 8410575"/>
              <a:gd name="connsiteY18" fmla="*/ 110810 h 1851664"/>
              <a:gd name="connsiteX19" fmla="*/ 606692 w 8410575"/>
              <a:gd name="connsiteY19" fmla="*/ 104418 h 1851664"/>
              <a:gd name="connsiteX20" fmla="*/ 657861 w 8410575"/>
              <a:gd name="connsiteY20" fmla="*/ 53251 h 1851664"/>
              <a:gd name="connsiteX21" fmla="*/ 664251 w 8410575"/>
              <a:gd name="connsiteY21" fmla="*/ 53251 h 1851664"/>
              <a:gd name="connsiteX22" fmla="*/ 715420 w 8410575"/>
              <a:gd name="connsiteY22" fmla="*/ 2084 h 1851664"/>
              <a:gd name="connsiteX23" fmla="*/ 714557 w 8410575"/>
              <a:gd name="connsiteY23" fmla="*/ 0 h 1851664"/>
              <a:gd name="connsiteX24" fmla="*/ 735546 w 8410575"/>
              <a:gd name="connsiteY24" fmla="*/ 0 h 1851664"/>
              <a:gd name="connsiteX25" fmla="*/ 734673 w 8410575"/>
              <a:gd name="connsiteY25" fmla="*/ 2106 h 1851664"/>
              <a:gd name="connsiteX26" fmla="*/ 785840 w 8410575"/>
              <a:gd name="connsiteY26" fmla="*/ 53273 h 1851664"/>
              <a:gd name="connsiteX27" fmla="*/ 837007 w 8410575"/>
              <a:gd name="connsiteY27" fmla="*/ 2106 h 1851664"/>
              <a:gd name="connsiteX28" fmla="*/ 836135 w 8410575"/>
              <a:gd name="connsiteY28" fmla="*/ 0 h 1851664"/>
              <a:gd name="connsiteX29" fmla="*/ 8410575 w 8410575"/>
              <a:gd name="connsiteY29" fmla="*/ 0 h 1851664"/>
              <a:gd name="connsiteX30" fmla="*/ 8410575 w 8410575"/>
              <a:gd name="connsiteY30" fmla="*/ 1851664 h 1851664"/>
              <a:gd name="connsiteX31" fmla="*/ 0 w 8410575"/>
              <a:gd name="connsiteY31" fmla="*/ 1851664 h 185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10575" h="1851664">
                <a:moveTo>
                  <a:pt x="555452" y="181056"/>
                </a:moveTo>
                <a:cubicBezTo>
                  <a:pt x="527194" y="181056"/>
                  <a:pt x="504285" y="203965"/>
                  <a:pt x="504285" y="232223"/>
                </a:cubicBezTo>
                <a:cubicBezTo>
                  <a:pt x="504285" y="260484"/>
                  <a:pt x="527194" y="283390"/>
                  <a:pt x="555452" y="283390"/>
                </a:cubicBezTo>
                <a:cubicBezTo>
                  <a:pt x="583715" y="283390"/>
                  <a:pt x="606621" y="260484"/>
                  <a:pt x="606621" y="232223"/>
                </a:cubicBezTo>
                <a:cubicBezTo>
                  <a:pt x="606621" y="203965"/>
                  <a:pt x="583715" y="181056"/>
                  <a:pt x="555452" y="181056"/>
                </a:cubicBezTo>
                <a:close/>
                <a:moveTo>
                  <a:pt x="0" y="0"/>
                </a:moveTo>
                <a:lnTo>
                  <a:pt x="274769" y="0"/>
                </a:lnTo>
                <a:lnTo>
                  <a:pt x="273896" y="2106"/>
                </a:lnTo>
                <a:cubicBezTo>
                  <a:pt x="273896" y="30367"/>
                  <a:pt x="296805" y="53273"/>
                  <a:pt x="325063" y="53273"/>
                </a:cubicBezTo>
                <a:cubicBezTo>
                  <a:pt x="353324" y="53273"/>
                  <a:pt x="376230" y="30367"/>
                  <a:pt x="376230" y="2106"/>
                </a:cubicBezTo>
                <a:lnTo>
                  <a:pt x="375358" y="0"/>
                </a:lnTo>
                <a:lnTo>
                  <a:pt x="396488" y="0"/>
                </a:lnTo>
                <a:lnTo>
                  <a:pt x="395625" y="2084"/>
                </a:lnTo>
                <a:cubicBezTo>
                  <a:pt x="395625" y="30345"/>
                  <a:pt x="418534" y="53251"/>
                  <a:pt x="446792" y="53251"/>
                </a:cubicBezTo>
                <a:lnTo>
                  <a:pt x="453189" y="53251"/>
                </a:lnTo>
                <a:cubicBezTo>
                  <a:pt x="481449" y="53251"/>
                  <a:pt x="504356" y="76157"/>
                  <a:pt x="504356" y="104418"/>
                </a:cubicBezTo>
                <a:lnTo>
                  <a:pt x="504356" y="110810"/>
                </a:lnTo>
                <a:cubicBezTo>
                  <a:pt x="504356" y="139073"/>
                  <a:pt x="527267" y="161979"/>
                  <a:pt x="555523" y="161979"/>
                </a:cubicBezTo>
                <a:cubicBezTo>
                  <a:pt x="583786" y="161979"/>
                  <a:pt x="606692" y="139073"/>
                  <a:pt x="606692" y="110810"/>
                </a:cubicBezTo>
                <a:lnTo>
                  <a:pt x="606692" y="104418"/>
                </a:lnTo>
                <a:cubicBezTo>
                  <a:pt x="606692" y="76157"/>
                  <a:pt x="629600" y="53251"/>
                  <a:pt x="657861" y="53251"/>
                </a:cubicBezTo>
                <a:lnTo>
                  <a:pt x="664251" y="53251"/>
                </a:lnTo>
                <a:cubicBezTo>
                  <a:pt x="692512" y="53251"/>
                  <a:pt x="715420" y="30345"/>
                  <a:pt x="715420" y="2084"/>
                </a:cubicBezTo>
                <a:lnTo>
                  <a:pt x="714557" y="0"/>
                </a:lnTo>
                <a:lnTo>
                  <a:pt x="735546" y="0"/>
                </a:lnTo>
                <a:lnTo>
                  <a:pt x="734673" y="2106"/>
                </a:lnTo>
                <a:cubicBezTo>
                  <a:pt x="734673" y="30367"/>
                  <a:pt x="757582" y="53273"/>
                  <a:pt x="785840" y="53273"/>
                </a:cubicBezTo>
                <a:cubicBezTo>
                  <a:pt x="814101" y="53273"/>
                  <a:pt x="837007" y="30367"/>
                  <a:pt x="837007" y="2106"/>
                </a:cubicBezTo>
                <a:lnTo>
                  <a:pt x="836135" y="0"/>
                </a:lnTo>
                <a:lnTo>
                  <a:pt x="8410575" y="0"/>
                </a:lnTo>
                <a:lnTo>
                  <a:pt x="8410575" y="1851664"/>
                </a:lnTo>
                <a:lnTo>
                  <a:pt x="0" y="1851664"/>
                </a:lnTo>
                <a:close/>
              </a:path>
            </a:pathLst>
          </a:custGeom>
          <a:solidFill>
            <a:schemeClr val="accent3">
              <a:alpha val="80000"/>
            </a:schemeClr>
          </a:solidFill>
        </p:spPr>
        <p:txBody>
          <a:bodyPr vert="horz" wrap="square" lIns="1080000" tIns="324000" rIns="360000" bIns="0" anchor="t" anchorCtr="0">
            <a:noAutofit/>
          </a:bodyPr>
          <a:lstStyle>
            <a:lvl1pPr algn="l" rtl="0">
              <a:lnSpc>
                <a:spcPct val="100000"/>
              </a:lnSpc>
              <a:defRPr sz="2400" b="1" cap="all" baseline="0">
                <a:solidFill>
                  <a:schemeClr val="bg1"/>
                </a:solidFill>
              </a:defRPr>
            </a:lvl1pPr>
          </a:lstStyle>
          <a:p>
            <a:r>
              <a:rPr lang="de-DE" dirty="0"/>
              <a:t>Titel hinzufügen</a:t>
            </a:r>
          </a:p>
        </p:txBody>
      </p:sp>
      <p:sp>
        <p:nvSpPr>
          <p:cNvPr id="3" name="Subtitle 2">
            <a:extLst>
              <a:ext uri="{FF2B5EF4-FFF2-40B4-BE49-F238E27FC236}">
                <a16:creationId xmlns:a16="http://schemas.microsoft.com/office/drawing/2014/main" id="{32C5B5DA-E9D3-48AB-8BF4-6BA935EC82B2}"/>
              </a:ext>
            </a:extLst>
          </p:cNvPr>
          <p:cNvSpPr>
            <a:spLocks noGrp="1"/>
          </p:cNvSpPr>
          <p:nvPr>
            <p:ph type="subTitle" idx="1" hasCustomPrompt="1"/>
          </p:nvPr>
        </p:nvSpPr>
        <p:spPr>
          <a:xfrm>
            <a:off x="1462088" y="4114800"/>
            <a:ext cx="6951662" cy="204788"/>
          </a:xfrm>
        </p:spPr>
        <p:txBody>
          <a:bodyPr wrap="square" lIns="0" tIns="0" rIns="0" bIns="0" anchor="t" anchorCtr="0">
            <a:noAutofit/>
          </a:bodyPr>
          <a:lstStyle>
            <a:lvl1pPr marL="0" indent="0" algn="l" rtl="0">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T. Monat </a:t>
            </a:r>
            <a:r>
              <a:rPr lang="de-DE" dirty="0" err="1"/>
              <a:t>JJJJ</a:t>
            </a:r>
            <a:r>
              <a:rPr lang="de-DE" dirty="0"/>
              <a:t> | Ort | Zusatzinformationen</a:t>
            </a:r>
          </a:p>
        </p:txBody>
      </p:sp>
      <p:sp>
        <p:nvSpPr>
          <p:cNvPr id="2" name="Slide Number Placeholder 1">
            <a:extLst>
              <a:ext uri="{FF2B5EF4-FFF2-40B4-BE49-F238E27FC236}">
                <a16:creationId xmlns:a16="http://schemas.microsoft.com/office/drawing/2014/main" id="{91BA5E52-21E2-4436-A0B3-CFE67EE86939}"/>
              </a:ext>
            </a:extLst>
          </p:cNvPr>
          <p:cNvSpPr>
            <a:spLocks noGrp="1"/>
          </p:cNvSpPr>
          <p:nvPr>
            <p:ph type="sldNum" sz="quarter" idx="19"/>
          </p:nvPr>
        </p:nvSpPr>
        <p:spPr/>
        <p:txBody>
          <a:bodyPr/>
          <a:lstStyle/>
          <a:p>
            <a:fld id="{61A237A4-5F56-495D-ADE9-563CDE6DCB6B}" type="slidenum">
              <a:rPr lang="de-DE" noProof="0" smtClean="0"/>
              <a:pPr/>
              <a:t>‹Nr.›</a:t>
            </a:fld>
            <a:endParaRPr lang="de-DE" noProof="0" dirty="0"/>
          </a:p>
        </p:txBody>
      </p:sp>
    </p:spTree>
    <p:extLst>
      <p:ext uri="{BB962C8B-B14F-4D97-AF65-F5344CB8AC3E}">
        <p14:creationId xmlns:p14="http://schemas.microsoft.com/office/powerpoint/2010/main" val="2111304091"/>
      </p:ext>
    </p:extLst>
  </p:cSld>
  <p:clrMapOvr>
    <a:masterClrMapping/>
  </p:clrMapOvr>
  <p:extLst>
    <p:ext uri="{DCECCB84-F9BA-43D5-87BE-67443E8EF086}">
      <p15:sldGuideLst xmlns:p15="http://schemas.microsoft.com/office/powerpoint/2012/main">
        <p15:guide id="1" pos="231" userDrawn="1">
          <p15:clr>
            <a:srgbClr val="F26B43"/>
          </p15:clr>
        </p15:guide>
        <p15:guide id="2" orient="horz" pos="1815" userDrawn="1">
          <p15:clr>
            <a:srgbClr val="F26B43"/>
          </p15:clr>
        </p15:guide>
        <p15:guide id="3" orient="horz" pos="2981" userDrawn="1">
          <p15:clr>
            <a:srgbClr val="F26B43"/>
          </p15:clr>
        </p15:guide>
        <p15:guide id="4" pos="5529" userDrawn="1">
          <p15:clr>
            <a:srgbClr val="F26B43"/>
          </p15:clr>
        </p15:guide>
        <p15:guide id="5" pos="921"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mit Text &amp; Bild  / hellbrau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B55E966-152B-4155-BC8B-37B3DB47884B}"/>
              </a:ext>
            </a:extLst>
          </p:cNvPr>
          <p:cNvGraphicFramePr>
            <a:graphicFrameLocks noChangeAspect="1"/>
          </p:cNvGraphicFramePr>
          <p:nvPr userDrawn="1">
            <p:custDataLst>
              <p:tags r:id="rId2"/>
            </p:custDataLst>
            <p:extLst>
              <p:ext uri="{D42A27DB-BD31-4B8C-83A1-F6EECF244321}">
                <p14:modId xmlns:p14="http://schemas.microsoft.com/office/powerpoint/2010/main" val="379834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12"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B55E966-152B-4155-BC8B-37B3DB4788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605D5426-1391-4BA2-884D-0F59552042BD}"/>
              </a:ext>
            </a:extLst>
          </p:cNvPr>
          <p:cNvSpPr/>
          <p:nvPr userDrawn="1"/>
        </p:nvSpPr>
        <p:spPr>
          <a:xfrm>
            <a:off x="366713" y="617537"/>
            <a:ext cx="8410576" cy="41148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rtl="0"/>
            <a:endParaRPr lang="de-DE" sz="1400" dirty="0">
              <a:solidFill>
                <a:schemeClr val="bg1"/>
              </a:solidFill>
            </a:endParaRPr>
          </a:p>
        </p:txBody>
      </p:sp>
      <p:sp>
        <p:nvSpPr>
          <p:cNvPr id="27" name="Freeform: Shape 26">
            <a:extLst>
              <a:ext uri="{FF2B5EF4-FFF2-40B4-BE49-F238E27FC236}">
                <a16:creationId xmlns:a16="http://schemas.microsoft.com/office/drawing/2014/main" id="{9E8F7277-A5B7-4111-A1D4-00ECAC3658D0}"/>
              </a:ext>
            </a:extLst>
          </p:cNvPr>
          <p:cNvSpPr>
            <a:spLocks noGrp="1"/>
          </p:cNvSpPr>
          <p:nvPr>
            <p:ph type="pic" sz="quarter" idx="18" hasCustomPrompt="1"/>
          </p:nvPr>
        </p:nvSpPr>
        <p:spPr>
          <a:xfrm>
            <a:off x="4572000" y="617538"/>
            <a:ext cx="4205289" cy="4114800"/>
          </a:xfrm>
          <a:custGeom>
            <a:avLst/>
            <a:gdLst>
              <a:gd name="connsiteX0" fmla="*/ 232126 w 4205289"/>
              <a:gd name="connsiteY0" fmla="*/ 3528164 h 4114801"/>
              <a:gd name="connsiteX1" fmla="*/ 180959 w 4205289"/>
              <a:gd name="connsiteY1" fmla="*/ 3579331 h 4114801"/>
              <a:gd name="connsiteX2" fmla="*/ 232126 w 4205289"/>
              <a:gd name="connsiteY2" fmla="*/ 3630498 h 4114801"/>
              <a:gd name="connsiteX3" fmla="*/ 283293 w 4205289"/>
              <a:gd name="connsiteY3" fmla="*/ 3579331 h 4114801"/>
              <a:gd name="connsiteX4" fmla="*/ 232126 w 4205289"/>
              <a:gd name="connsiteY4" fmla="*/ 3528164 h 4114801"/>
              <a:gd name="connsiteX5" fmla="*/ 0 w 4205289"/>
              <a:gd name="connsiteY5" fmla="*/ 0 h 4114801"/>
              <a:gd name="connsiteX6" fmla="*/ 4204840 w 4205289"/>
              <a:gd name="connsiteY6" fmla="*/ 0 h 4114801"/>
              <a:gd name="connsiteX7" fmla="*/ 4204840 w 4205289"/>
              <a:gd name="connsiteY7" fmla="*/ 1646238 h 4114801"/>
              <a:gd name="connsiteX8" fmla="*/ 4205289 w 4205289"/>
              <a:gd name="connsiteY8" fmla="*/ 1646238 h 4114801"/>
              <a:gd name="connsiteX9" fmla="*/ 4205289 w 4205289"/>
              <a:gd name="connsiteY9" fmla="*/ 4114801 h 4114801"/>
              <a:gd name="connsiteX10" fmla="*/ 3475038 w 4205289"/>
              <a:gd name="connsiteY10" fmla="*/ 4114801 h 4114801"/>
              <a:gd name="connsiteX11" fmla="*/ 2862312 w 4205289"/>
              <a:gd name="connsiteY11" fmla="*/ 4114801 h 4114801"/>
              <a:gd name="connsiteX12" fmla="*/ 0 w 4205289"/>
              <a:gd name="connsiteY12" fmla="*/ 4114801 h 4114801"/>
              <a:gd name="connsiteX13" fmla="*/ 0 w 4205289"/>
              <a:gd name="connsiteY13" fmla="*/ 3910014 h 4114801"/>
              <a:gd name="connsiteX14" fmla="*/ 0 w 4205289"/>
              <a:gd name="connsiteY14" fmla="*/ 3884613 h 4114801"/>
              <a:gd name="connsiteX15" fmla="*/ 0 w 4205289"/>
              <a:gd name="connsiteY15" fmla="*/ 3860264 h 4114801"/>
              <a:gd name="connsiteX16" fmla="*/ 1738 w 4205289"/>
              <a:gd name="connsiteY16" fmla="*/ 3860615 h 4114801"/>
              <a:gd name="connsiteX17" fmla="*/ 52907 w 4205289"/>
              <a:gd name="connsiteY17" fmla="*/ 3809448 h 4114801"/>
              <a:gd name="connsiteX18" fmla="*/ 1738 w 4205289"/>
              <a:gd name="connsiteY18" fmla="*/ 3758281 h 4114801"/>
              <a:gd name="connsiteX19" fmla="*/ 0 w 4205289"/>
              <a:gd name="connsiteY19" fmla="*/ 3758632 h 4114801"/>
              <a:gd name="connsiteX20" fmla="*/ 0 w 4205289"/>
              <a:gd name="connsiteY20" fmla="*/ 3738839 h 4114801"/>
              <a:gd name="connsiteX21" fmla="*/ 1809 w 4205289"/>
              <a:gd name="connsiteY21" fmla="*/ 3739204 h 4114801"/>
              <a:gd name="connsiteX22" fmla="*/ 52978 w 4205289"/>
              <a:gd name="connsiteY22" fmla="*/ 3688035 h 4114801"/>
              <a:gd name="connsiteX23" fmla="*/ 52978 w 4205289"/>
              <a:gd name="connsiteY23" fmla="*/ 3681643 h 4114801"/>
              <a:gd name="connsiteX24" fmla="*/ 104147 w 4205289"/>
              <a:gd name="connsiteY24" fmla="*/ 3630476 h 4114801"/>
              <a:gd name="connsiteX25" fmla="*/ 110537 w 4205289"/>
              <a:gd name="connsiteY25" fmla="*/ 3630476 h 4114801"/>
              <a:gd name="connsiteX26" fmla="*/ 161706 w 4205289"/>
              <a:gd name="connsiteY26" fmla="*/ 3579309 h 4114801"/>
              <a:gd name="connsiteX27" fmla="*/ 110537 w 4205289"/>
              <a:gd name="connsiteY27" fmla="*/ 3528142 h 4114801"/>
              <a:gd name="connsiteX28" fmla="*/ 104147 w 4205289"/>
              <a:gd name="connsiteY28" fmla="*/ 3528142 h 4114801"/>
              <a:gd name="connsiteX29" fmla="*/ 52978 w 4205289"/>
              <a:gd name="connsiteY29" fmla="*/ 3476973 h 4114801"/>
              <a:gd name="connsiteX30" fmla="*/ 52978 w 4205289"/>
              <a:gd name="connsiteY30" fmla="*/ 3470581 h 4114801"/>
              <a:gd name="connsiteX31" fmla="*/ 1809 w 4205289"/>
              <a:gd name="connsiteY31" fmla="*/ 3419416 h 4114801"/>
              <a:gd name="connsiteX32" fmla="*/ 0 w 4205289"/>
              <a:gd name="connsiteY32" fmla="*/ 3419781 h 4114801"/>
              <a:gd name="connsiteX33" fmla="*/ 0 w 4205289"/>
              <a:gd name="connsiteY33" fmla="*/ 3400028 h 4114801"/>
              <a:gd name="connsiteX34" fmla="*/ 1738 w 4205289"/>
              <a:gd name="connsiteY34" fmla="*/ 3400379 h 4114801"/>
              <a:gd name="connsiteX35" fmla="*/ 52907 w 4205289"/>
              <a:gd name="connsiteY35" fmla="*/ 3349212 h 4114801"/>
              <a:gd name="connsiteX36" fmla="*/ 1738 w 4205289"/>
              <a:gd name="connsiteY36" fmla="*/ 3298045 h 4114801"/>
              <a:gd name="connsiteX37" fmla="*/ 0 w 4205289"/>
              <a:gd name="connsiteY37" fmla="*/ 3298396 h 4114801"/>
              <a:gd name="connsiteX38" fmla="*/ 0 w 4205289"/>
              <a:gd name="connsiteY38" fmla="*/ 2468563 h 4114801"/>
              <a:gd name="connsiteX39" fmla="*/ 0 w 4205289"/>
              <a:gd name="connsiteY39" fmla="*/ 411163 h 411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205289" h="4114801">
                <a:moveTo>
                  <a:pt x="232126" y="3528164"/>
                </a:moveTo>
                <a:cubicBezTo>
                  <a:pt x="203868" y="3528164"/>
                  <a:pt x="180959" y="3551073"/>
                  <a:pt x="180959" y="3579331"/>
                </a:cubicBezTo>
                <a:cubicBezTo>
                  <a:pt x="180959" y="3607592"/>
                  <a:pt x="203868" y="3630498"/>
                  <a:pt x="232126" y="3630498"/>
                </a:cubicBezTo>
                <a:cubicBezTo>
                  <a:pt x="260387" y="3630498"/>
                  <a:pt x="283293" y="3607592"/>
                  <a:pt x="283293" y="3579331"/>
                </a:cubicBezTo>
                <a:cubicBezTo>
                  <a:pt x="283293" y="3551073"/>
                  <a:pt x="260387" y="3528164"/>
                  <a:pt x="232126" y="3528164"/>
                </a:cubicBezTo>
                <a:close/>
                <a:moveTo>
                  <a:pt x="0" y="0"/>
                </a:moveTo>
                <a:lnTo>
                  <a:pt x="4204840" y="0"/>
                </a:lnTo>
                <a:lnTo>
                  <a:pt x="4204840" y="1646238"/>
                </a:lnTo>
                <a:lnTo>
                  <a:pt x="4205289" y="1646238"/>
                </a:lnTo>
                <a:lnTo>
                  <a:pt x="4205289" y="4114801"/>
                </a:lnTo>
                <a:lnTo>
                  <a:pt x="3475038" y="4114801"/>
                </a:lnTo>
                <a:lnTo>
                  <a:pt x="2862312" y="4114801"/>
                </a:lnTo>
                <a:lnTo>
                  <a:pt x="0" y="4114801"/>
                </a:lnTo>
                <a:lnTo>
                  <a:pt x="0" y="3910014"/>
                </a:lnTo>
                <a:lnTo>
                  <a:pt x="0" y="3884613"/>
                </a:lnTo>
                <a:lnTo>
                  <a:pt x="0" y="3860264"/>
                </a:lnTo>
                <a:lnTo>
                  <a:pt x="1738" y="3860615"/>
                </a:lnTo>
                <a:cubicBezTo>
                  <a:pt x="30001" y="3860615"/>
                  <a:pt x="52907" y="3837709"/>
                  <a:pt x="52907" y="3809448"/>
                </a:cubicBezTo>
                <a:cubicBezTo>
                  <a:pt x="52907" y="3781190"/>
                  <a:pt x="30001" y="3758281"/>
                  <a:pt x="1738" y="3758281"/>
                </a:cubicBezTo>
                <a:lnTo>
                  <a:pt x="0" y="3758632"/>
                </a:lnTo>
                <a:lnTo>
                  <a:pt x="0" y="3738839"/>
                </a:lnTo>
                <a:lnTo>
                  <a:pt x="1809" y="3739204"/>
                </a:lnTo>
                <a:cubicBezTo>
                  <a:pt x="30072" y="3739204"/>
                  <a:pt x="52978" y="3716298"/>
                  <a:pt x="52978" y="3688035"/>
                </a:cubicBezTo>
                <a:lnTo>
                  <a:pt x="52978" y="3681643"/>
                </a:lnTo>
                <a:cubicBezTo>
                  <a:pt x="52978" y="3653382"/>
                  <a:pt x="75886" y="3630476"/>
                  <a:pt x="104147" y="3630476"/>
                </a:cubicBezTo>
                <a:lnTo>
                  <a:pt x="110537" y="3630476"/>
                </a:lnTo>
                <a:cubicBezTo>
                  <a:pt x="138798" y="3630476"/>
                  <a:pt x="161706" y="3607570"/>
                  <a:pt x="161706" y="3579309"/>
                </a:cubicBezTo>
                <a:cubicBezTo>
                  <a:pt x="161706" y="3551048"/>
                  <a:pt x="138798" y="3528142"/>
                  <a:pt x="110537" y="3528142"/>
                </a:cubicBezTo>
                <a:lnTo>
                  <a:pt x="104147" y="3528142"/>
                </a:lnTo>
                <a:cubicBezTo>
                  <a:pt x="75886" y="3528142"/>
                  <a:pt x="52978" y="3505236"/>
                  <a:pt x="52978" y="3476973"/>
                </a:cubicBezTo>
                <a:lnTo>
                  <a:pt x="52978" y="3470581"/>
                </a:lnTo>
                <a:cubicBezTo>
                  <a:pt x="52978" y="3442325"/>
                  <a:pt x="30072" y="3419416"/>
                  <a:pt x="1809" y="3419416"/>
                </a:cubicBezTo>
                <a:lnTo>
                  <a:pt x="0" y="3419781"/>
                </a:lnTo>
                <a:lnTo>
                  <a:pt x="0" y="3400028"/>
                </a:lnTo>
                <a:lnTo>
                  <a:pt x="1738" y="3400379"/>
                </a:lnTo>
                <a:cubicBezTo>
                  <a:pt x="30001" y="3400379"/>
                  <a:pt x="52907" y="3377473"/>
                  <a:pt x="52907" y="3349212"/>
                </a:cubicBezTo>
                <a:cubicBezTo>
                  <a:pt x="52907" y="3320954"/>
                  <a:pt x="30001" y="3298045"/>
                  <a:pt x="1738" y="3298045"/>
                </a:cubicBezTo>
                <a:lnTo>
                  <a:pt x="0" y="3298396"/>
                </a:lnTo>
                <a:lnTo>
                  <a:pt x="0" y="2468563"/>
                </a:lnTo>
                <a:lnTo>
                  <a:pt x="0" y="411163"/>
                </a:lnTo>
                <a:close/>
              </a:path>
            </a:pathLst>
          </a:custGeom>
          <a:solidFill>
            <a:schemeClr val="bg1">
              <a:lumMod val="85000"/>
            </a:schemeClr>
          </a:solidFill>
        </p:spPr>
        <p:txBody>
          <a:bodyPr wrap="square" lIns="0" rIns="0" anchor="ctr">
            <a:noAutofit/>
          </a:bodyPr>
          <a:lstStyle>
            <a:lvl1pPr marL="0" indent="0" algn="ctr" rtl="0">
              <a:buNone/>
              <a:defRPr/>
            </a:lvl1pPr>
          </a:lstStyle>
          <a:p>
            <a:r>
              <a:rPr lang="de-DE" dirty="0"/>
              <a:t>Bild hinzufügen</a:t>
            </a:r>
          </a:p>
        </p:txBody>
      </p:sp>
      <p:sp>
        <p:nvSpPr>
          <p:cNvPr id="2" name="Title 1">
            <a:extLst>
              <a:ext uri="{FF2B5EF4-FFF2-40B4-BE49-F238E27FC236}">
                <a16:creationId xmlns:a16="http://schemas.microsoft.com/office/drawing/2014/main" id="{FA37A3E9-4AC7-40AB-9175-27E504FE91D6}"/>
              </a:ext>
            </a:extLst>
          </p:cNvPr>
          <p:cNvSpPr>
            <a:spLocks noGrp="1"/>
          </p:cNvSpPr>
          <p:nvPr>
            <p:ph type="title" hasCustomPrompt="1"/>
          </p:nvPr>
        </p:nvSpPr>
        <p:spPr/>
        <p:txBody>
          <a:bodyPr vert="horz"/>
          <a:lstStyle>
            <a:lvl1pPr rtl="0">
              <a:defRPr/>
            </a:lvl1pPr>
          </a:lstStyle>
          <a:p>
            <a:r>
              <a:rPr lang="de-DE" noProof="0" dirty="0"/>
              <a:t>Titel </a:t>
            </a:r>
            <a:br>
              <a:rPr lang="de-DE" noProof="0" dirty="0"/>
            </a:br>
            <a:r>
              <a:rPr lang="de-DE" noProof="0" dirty="0"/>
              <a:t>hinzufügen</a:t>
            </a:r>
            <a:endParaRPr lang="de-DE" dirty="0"/>
          </a:p>
        </p:txBody>
      </p:sp>
      <p:sp>
        <p:nvSpPr>
          <p:cNvPr id="6" name="Slide Number Placeholder 5">
            <a:extLst>
              <a:ext uri="{FF2B5EF4-FFF2-40B4-BE49-F238E27FC236}">
                <a16:creationId xmlns:a16="http://schemas.microsoft.com/office/drawing/2014/main" id="{944DA456-96F7-4E88-B5F0-01FD9C0599E9}"/>
              </a:ext>
            </a:extLst>
          </p:cNvPr>
          <p:cNvSpPr>
            <a:spLocks noGrp="1"/>
          </p:cNvSpPr>
          <p:nvPr>
            <p:ph type="sldNum" sz="quarter" idx="12"/>
          </p:nvPr>
        </p:nvSpPr>
        <p:spPr/>
        <p:txBody>
          <a:bodyPr/>
          <a:lstStyle>
            <a:lvl1pPr rtl="0">
              <a:defRPr/>
            </a:lvl1pPr>
          </a:lstStyle>
          <a:p>
            <a:fld id="{61A237A4-5F56-495D-ADE9-563CDE6DCB6B}" type="slidenum">
              <a:rPr lang="de-DE" smtClean="0"/>
              <a:pPr/>
              <a:t>‹Nr.›</a:t>
            </a:fld>
            <a:endParaRPr lang="de-DE" dirty="0"/>
          </a:p>
        </p:txBody>
      </p:sp>
      <p:sp>
        <p:nvSpPr>
          <p:cNvPr id="10" name="Text Placeholder 9">
            <a:extLst>
              <a:ext uri="{FF2B5EF4-FFF2-40B4-BE49-F238E27FC236}">
                <a16:creationId xmlns:a16="http://schemas.microsoft.com/office/drawing/2014/main" id="{56B40821-1E4B-4B1A-A4EC-67ED383914AF}"/>
              </a:ext>
            </a:extLst>
          </p:cNvPr>
          <p:cNvSpPr>
            <a:spLocks noGrp="1"/>
          </p:cNvSpPr>
          <p:nvPr>
            <p:ph type="body" sz="quarter" idx="13" hasCustomPrompt="1"/>
          </p:nvPr>
        </p:nvSpPr>
        <p:spPr>
          <a:xfrm>
            <a:off x="733425" y="1028701"/>
            <a:ext cx="3290888" cy="3498850"/>
          </a:xfrm>
        </p:spPr>
        <p:txBody>
          <a:bodyPr/>
          <a:lstStyle>
            <a:lvl1pPr rtl="0">
              <a:defRPr/>
            </a:lvl1pPr>
            <a:lvl2pPr rtl="0">
              <a:defRPr/>
            </a:lvl2pPr>
            <a:lvl3pPr rtl="0">
              <a:defRPr/>
            </a:lvl3pPr>
          </a:lstStyle>
          <a:p>
            <a:pPr lvl="0"/>
            <a:r>
              <a:rPr lang="de-DE" noProof="0" dirty="0"/>
              <a:t>Erste Ebene</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1" name="Text Placeholder 9">
            <a:extLst>
              <a:ext uri="{FF2B5EF4-FFF2-40B4-BE49-F238E27FC236}">
                <a16:creationId xmlns:a16="http://schemas.microsoft.com/office/drawing/2014/main" id="{B4B60243-B22D-4DE0-8846-1532F903A022}"/>
              </a:ext>
            </a:extLst>
          </p:cNvPr>
          <p:cNvSpPr>
            <a:spLocks noGrp="1"/>
          </p:cNvSpPr>
          <p:nvPr>
            <p:ph type="body" sz="quarter" idx="14" hasCustomPrompt="1"/>
          </p:nvPr>
        </p:nvSpPr>
        <p:spPr>
          <a:xfrm>
            <a:off x="1098550" y="4938713"/>
            <a:ext cx="7678290" cy="204787"/>
          </a:xfrm>
        </p:spPr>
        <p:txBody>
          <a:bodyPr anchor="ctr">
            <a:noAutofit/>
          </a:bodyPr>
          <a:lstStyle>
            <a:lvl1pPr marL="0" indent="0" rtl="0">
              <a:spcAft>
                <a:spcPts val="0"/>
              </a:spcAft>
              <a:buNone/>
              <a:defRPr sz="600"/>
            </a:lvl1pPr>
            <a:lvl2pPr marL="0" indent="0">
              <a:spcAft>
                <a:spcPts val="0"/>
              </a:spcAft>
              <a:buFont typeface="Arial" panose="020B0604020202020204" pitchFamily="34" charset="0"/>
              <a:buNone/>
              <a:defRPr sz="600"/>
            </a:lvl2pPr>
            <a:lvl3pPr marL="0" indent="0">
              <a:spcAft>
                <a:spcPts val="0"/>
              </a:spcAft>
              <a:buFont typeface="Arial" panose="020B0604020202020204" pitchFamily="34" charset="0"/>
              <a:buNone/>
              <a:defRPr sz="600"/>
            </a:lvl3pPr>
          </a:lstStyle>
          <a:p>
            <a:pPr lvl="0"/>
            <a:r>
              <a:rPr lang="de-DE" noProof="0" dirty="0"/>
              <a:t>Quelle: </a:t>
            </a:r>
          </a:p>
        </p:txBody>
      </p:sp>
      <p:sp>
        <p:nvSpPr>
          <p:cNvPr id="36" name="Freeform: Shape 35">
            <a:extLst>
              <a:ext uri="{FF2B5EF4-FFF2-40B4-BE49-F238E27FC236}">
                <a16:creationId xmlns:a16="http://schemas.microsoft.com/office/drawing/2014/main" id="{10FED169-D09C-49C6-98BE-A236DFC40622}"/>
              </a:ext>
            </a:extLst>
          </p:cNvPr>
          <p:cNvSpPr/>
          <p:nvPr/>
        </p:nvSpPr>
        <p:spPr>
          <a:xfrm flipV="1">
            <a:off x="4292182" y="3915582"/>
            <a:ext cx="563111" cy="562570"/>
          </a:xfrm>
          <a:custGeom>
            <a:avLst/>
            <a:gdLst>
              <a:gd name="connsiteX0" fmla="*/ 281556 w 563111"/>
              <a:gd name="connsiteY0" fmla="*/ 102334 h 562570"/>
              <a:gd name="connsiteX1" fmla="*/ 332725 w 563111"/>
              <a:gd name="connsiteY1" fmla="*/ 51167 h 562570"/>
              <a:gd name="connsiteX2" fmla="*/ 281556 w 563111"/>
              <a:gd name="connsiteY2" fmla="*/ 0 h 562570"/>
              <a:gd name="connsiteX3" fmla="*/ 230389 w 563111"/>
              <a:gd name="connsiteY3" fmla="*/ 51167 h 562570"/>
              <a:gd name="connsiteX4" fmla="*/ 281556 w 563111"/>
              <a:gd name="connsiteY4" fmla="*/ 102334 h 562570"/>
              <a:gd name="connsiteX5" fmla="*/ 511944 w 563111"/>
              <a:gd name="connsiteY5" fmla="*/ 332451 h 562570"/>
              <a:gd name="connsiteX6" fmla="*/ 563111 w 563111"/>
              <a:gd name="connsiteY6" fmla="*/ 281284 h 562570"/>
              <a:gd name="connsiteX7" fmla="*/ 511944 w 563111"/>
              <a:gd name="connsiteY7" fmla="*/ 230117 h 562570"/>
              <a:gd name="connsiteX8" fmla="*/ 460777 w 563111"/>
              <a:gd name="connsiteY8" fmla="*/ 281284 h 562570"/>
              <a:gd name="connsiteX9" fmla="*/ 511944 w 563111"/>
              <a:gd name="connsiteY9" fmla="*/ 332451 h 562570"/>
              <a:gd name="connsiteX10" fmla="*/ 51167 w 563111"/>
              <a:gd name="connsiteY10" fmla="*/ 332451 h 562570"/>
              <a:gd name="connsiteX11" fmla="*/ 102334 w 563111"/>
              <a:gd name="connsiteY11" fmla="*/ 281284 h 562570"/>
              <a:gd name="connsiteX12" fmla="*/ 51167 w 563111"/>
              <a:gd name="connsiteY12" fmla="*/ 230117 h 562570"/>
              <a:gd name="connsiteX13" fmla="*/ 0 w 563111"/>
              <a:gd name="connsiteY13" fmla="*/ 281284 h 562570"/>
              <a:gd name="connsiteX14" fmla="*/ 51167 w 563111"/>
              <a:gd name="connsiteY14" fmla="*/ 332451 h 562570"/>
              <a:gd name="connsiteX15" fmla="*/ 281627 w 563111"/>
              <a:gd name="connsiteY15" fmla="*/ 441199 h 562570"/>
              <a:gd name="connsiteX16" fmla="*/ 332796 w 563111"/>
              <a:gd name="connsiteY16" fmla="*/ 390034 h 562570"/>
              <a:gd name="connsiteX17" fmla="*/ 332796 w 563111"/>
              <a:gd name="connsiteY17" fmla="*/ 383642 h 562570"/>
              <a:gd name="connsiteX18" fmla="*/ 383965 w 563111"/>
              <a:gd name="connsiteY18" fmla="*/ 332473 h 562570"/>
              <a:gd name="connsiteX19" fmla="*/ 390355 w 563111"/>
              <a:gd name="connsiteY19" fmla="*/ 332473 h 562570"/>
              <a:gd name="connsiteX20" fmla="*/ 441524 w 563111"/>
              <a:gd name="connsiteY20" fmla="*/ 281306 h 562570"/>
              <a:gd name="connsiteX21" fmla="*/ 390355 w 563111"/>
              <a:gd name="connsiteY21" fmla="*/ 230139 h 562570"/>
              <a:gd name="connsiteX22" fmla="*/ 383965 w 563111"/>
              <a:gd name="connsiteY22" fmla="*/ 230139 h 562570"/>
              <a:gd name="connsiteX23" fmla="*/ 332796 w 563111"/>
              <a:gd name="connsiteY23" fmla="*/ 178972 h 562570"/>
              <a:gd name="connsiteX24" fmla="*/ 332796 w 563111"/>
              <a:gd name="connsiteY24" fmla="*/ 172580 h 562570"/>
              <a:gd name="connsiteX25" fmla="*/ 281627 w 563111"/>
              <a:gd name="connsiteY25" fmla="*/ 121411 h 562570"/>
              <a:gd name="connsiteX26" fmla="*/ 230460 w 563111"/>
              <a:gd name="connsiteY26" fmla="*/ 172580 h 562570"/>
              <a:gd name="connsiteX27" fmla="*/ 230460 w 563111"/>
              <a:gd name="connsiteY27" fmla="*/ 178972 h 562570"/>
              <a:gd name="connsiteX28" fmla="*/ 179293 w 563111"/>
              <a:gd name="connsiteY28" fmla="*/ 230139 h 562570"/>
              <a:gd name="connsiteX29" fmla="*/ 172896 w 563111"/>
              <a:gd name="connsiteY29" fmla="*/ 230139 h 562570"/>
              <a:gd name="connsiteX30" fmla="*/ 121729 w 563111"/>
              <a:gd name="connsiteY30" fmla="*/ 281306 h 562570"/>
              <a:gd name="connsiteX31" fmla="*/ 172896 w 563111"/>
              <a:gd name="connsiteY31" fmla="*/ 332473 h 562570"/>
              <a:gd name="connsiteX32" fmla="*/ 179293 w 563111"/>
              <a:gd name="connsiteY32" fmla="*/ 332475 h 562570"/>
              <a:gd name="connsiteX33" fmla="*/ 230460 w 563111"/>
              <a:gd name="connsiteY33" fmla="*/ 383642 h 562570"/>
              <a:gd name="connsiteX34" fmla="*/ 230460 w 563111"/>
              <a:gd name="connsiteY34" fmla="*/ 390034 h 562570"/>
              <a:gd name="connsiteX35" fmla="*/ 281627 w 563111"/>
              <a:gd name="connsiteY35" fmla="*/ 441199 h 562570"/>
              <a:gd name="connsiteX36" fmla="*/ 281556 w 563111"/>
              <a:gd name="connsiteY36" fmla="*/ 562570 h 562570"/>
              <a:gd name="connsiteX37" fmla="*/ 332725 w 563111"/>
              <a:gd name="connsiteY37" fmla="*/ 511403 h 562570"/>
              <a:gd name="connsiteX38" fmla="*/ 281556 w 563111"/>
              <a:gd name="connsiteY38" fmla="*/ 460236 h 562570"/>
              <a:gd name="connsiteX39" fmla="*/ 230389 w 563111"/>
              <a:gd name="connsiteY39" fmla="*/ 511403 h 562570"/>
              <a:gd name="connsiteX40" fmla="*/ 281556 w 563111"/>
              <a:gd name="connsiteY40" fmla="*/ 562570 h 5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63111" h="562570">
                <a:moveTo>
                  <a:pt x="281556" y="102334"/>
                </a:moveTo>
                <a:cubicBezTo>
                  <a:pt x="309819" y="102334"/>
                  <a:pt x="332725" y="79425"/>
                  <a:pt x="332725" y="51167"/>
                </a:cubicBezTo>
                <a:cubicBezTo>
                  <a:pt x="332725" y="22906"/>
                  <a:pt x="309819" y="0"/>
                  <a:pt x="281556" y="0"/>
                </a:cubicBezTo>
                <a:cubicBezTo>
                  <a:pt x="253298" y="0"/>
                  <a:pt x="230389" y="22906"/>
                  <a:pt x="230389" y="51167"/>
                </a:cubicBezTo>
                <a:cubicBezTo>
                  <a:pt x="230389" y="79425"/>
                  <a:pt x="253298" y="102334"/>
                  <a:pt x="281556" y="102334"/>
                </a:cubicBezTo>
                <a:close/>
                <a:moveTo>
                  <a:pt x="511944" y="332451"/>
                </a:moveTo>
                <a:cubicBezTo>
                  <a:pt x="540205" y="332451"/>
                  <a:pt x="563111" y="309542"/>
                  <a:pt x="563111" y="281284"/>
                </a:cubicBezTo>
                <a:cubicBezTo>
                  <a:pt x="563111" y="253023"/>
                  <a:pt x="540205" y="230117"/>
                  <a:pt x="511944" y="230117"/>
                </a:cubicBezTo>
                <a:cubicBezTo>
                  <a:pt x="483686" y="230117"/>
                  <a:pt x="460777" y="253023"/>
                  <a:pt x="460777" y="281284"/>
                </a:cubicBezTo>
                <a:cubicBezTo>
                  <a:pt x="460777" y="309542"/>
                  <a:pt x="483686" y="332451"/>
                  <a:pt x="511944" y="332451"/>
                </a:cubicBezTo>
                <a:close/>
                <a:moveTo>
                  <a:pt x="51167" y="332451"/>
                </a:moveTo>
                <a:cubicBezTo>
                  <a:pt x="79428" y="332451"/>
                  <a:pt x="102334" y="309542"/>
                  <a:pt x="102334" y="281284"/>
                </a:cubicBezTo>
                <a:cubicBezTo>
                  <a:pt x="102334" y="253023"/>
                  <a:pt x="79428" y="230117"/>
                  <a:pt x="51167" y="230117"/>
                </a:cubicBezTo>
                <a:cubicBezTo>
                  <a:pt x="22909" y="230117"/>
                  <a:pt x="0" y="253023"/>
                  <a:pt x="0" y="281284"/>
                </a:cubicBezTo>
                <a:cubicBezTo>
                  <a:pt x="0" y="309542"/>
                  <a:pt x="22909" y="332451"/>
                  <a:pt x="51167" y="332451"/>
                </a:cubicBezTo>
                <a:close/>
                <a:moveTo>
                  <a:pt x="281627" y="441199"/>
                </a:moveTo>
                <a:cubicBezTo>
                  <a:pt x="309890" y="441199"/>
                  <a:pt x="332796" y="418290"/>
                  <a:pt x="332796" y="390034"/>
                </a:cubicBezTo>
                <a:lnTo>
                  <a:pt x="332796" y="383642"/>
                </a:lnTo>
                <a:cubicBezTo>
                  <a:pt x="332796" y="355379"/>
                  <a:pt x="355704" y="332473"/>
                  <a:pt x="383965" y="332473"/>
                </a:cubicBezTo>
                <a:lnTo>
                  <a:pt x="390355" y="332473"/>
                </a:lnTo>
                <a:cubicBezTo>
                  <a:pt x="418616" y="332473"/>
                  <a:pt x="441524" y="309567"/>
                  <a:pt x="441524" y="281306"/>
                </a:cubicBezTo>
                <a:cubicBezTo>
                  <a:pt x="441524" y="253045"/>
                  <a:pt x="418616" y="230139"/>
                  <a:pt x="390355" y="230139"/>
                </a:cubicBezTo>
                <a:lnTo>
                  <a:pt x="383965" y="230139"/>
                </a:lnTo>
                <a:cubicBezTo>
                  <a:pt x="355704" y="230139"/>
                  <a:pt x="332796" y="207233"/>
                  <a:pt x="332796" y="178972"/>
                </a:cubicBezTo>
                <a:lnTo>
                  <a:pt x="332796" y="172580"/>
                </a:lnTo>
                <a:cubicBezTo>
                  <a:pt x="332796" y="144317"/>
                  <a:pt x="309890" y="121411"/>
                  <a:pt x="281627" y="121411"/>
                </a:cubicBezTo>
                <a:cubicBezTo>
                  <a:pt x="253371" y="121411"/>
                  <a:pt x="230460" y="144317"/>
                  <a:pt x="230460" y="172580"/>
                </a:cubicBezTo>
                <a:lnTo>
                  <a:pt x="230460" y="178972"/>
                </a:lnTo>
                <a:cubicBezTo>
                  <a:pt x="230460" y="207233"/>
                  <a:pt x="207553" y="230139"/>
                  <a:pt x="179293" y="230139"/>
                </a:cubicBezTo>
                <a:lnTo>
                  <a:pt x="172896" y="230139"/>
                </a:lnTo>
                <a:cubicBezTo>
                  <a:pt x="144638" y="230139"/>
                  <a:pt x="121729" y="253045"/>
                  <a:pt x="121729" y="281306"/>
                </a:cubicBezTo>
                <a:cubicBezTo>
                  <a:pt x="121729" y="309567"/>
                  <a:pt x="144638" y="332473"/>
                  <a:pt x="172896" y="332473"/>
                </a:cubicBezTo>
                <a:lnTo>
                  <a:pt x="179293" y="332475"/>
                </a:lnTo>
                <a:cubicBezTo>
                  <a:pt x="207553" y="332475"/>
                  <a:pt x="230460" y="355379"/>
                  <a:pt x="230460" y="383642"/>
                </a:cubicBezTo>
                <a:lnTo>
                  <a:pt x="230460" y="390034"/>
                </a:lnTo>
                <a:cubicBezTo>
                  <a:pt x="230460" y="418290"/>
                  <a:pt x="253371" y="441199"/>
                  <a:pt x="281627" y="441199"/>
                </a:cubicBezTo>
                <a:close/>
                <a:moveTo>
                  <a:pt x="281556" y="562570"/>
                </a:moveTo>
                <a:cubicBezTo>
                  <a:pt x="309819" y="562570"/>
                  <a:pt x="332725" y="539661"/>
                  <a:pt x="332725" y="511403"/>
                </a:cubicBezTo>
                <a:cubicBezTo>
                  <a:pt x="332725" y="483142"/>
                  <a:pt x="309819" y="460236"/>
                  <a:pt x="281556" y="460236"/>
                </a:cubicBezTo>
                <a:cubicBezTo>
                  <a:pt x="253298" y="460236"/>
                  <a:pt x="230389" y="483142"/>
                  <a:pt x="230389" y="511403"/>
                </a:cubicBezTo>
                <a:cubicBezTo>
                  <a:pt x="230389" y="539661"/>
                  <a:pt x="253298" y="562570"/>
                  <a:pt x="281556" y="562570"/>
                </a:cubicBezTo>
                <a:close/>
              </a:path>
            </a:pathLst>
          </a:custGeom>
          <a:solidFill>
            <a:schemeClr val="accent6"/>
          </a:solidFill>
          <a:ln w="2251" cap="flat">
            <a:noFill/>
            <a:prstDash val="solid"/>
            <a:miter/>
          </a:ln>
        </p:spPr>
        <p:txBody>
          <a:bodyPr rtlCol="0" anchor="ctr"/>
          <a:lstStyle/>
          <a:p>
            <a:pPr rtl="0"/>
            <a:endParaRPr lang="de-DE" dirty="0"/>
          </a:p>
        </p:txBody>
      </p:sp>
      <p:grpSp>
        <p:nvGrpSpPr>
          <p:cNvPr id="37" name="Group 36">
            <a:extLst>
              <a:ext uri="{FF2B5EF4-FFF2-40B4-BE49-F238E27FC236}">
                <a16:creationId xmlns:a16="http://schemas.microsoft.com/office/drawing/2014/main" id="{0C22247B-CD7E-4892-9176-29A85BC1251D}"/>
              </a:ext>
            </a:extLst>
          </p:cNvPr>
          <p:cNvGrpSpPr/>
          <p:nvPr userDrawn="1"/>
        </p:nvGrpSpPr>
        <p:grpSpPr>
          <a:xfrm>
            <a:off x="9507912" y="0"/>
            <a:ext cx="1826837" cy="5143500"/>
            <a:chOff x="12455525" y="0"/>
            <a:chExt cx="2432456" cy="6858000"/>
          </a:xfrm>
        </p:grpSpPr>
        <p:sp>
          <p:nvSpPr>
            <p:cNvPr id="38" name="Rectangle 37">
              <a:extLst>
                <a:ext uri="{FF2B5EF4-FFF2-40B4-BE49-F238E27FC236}">
                  <a16:creationId xmlns:a16="http://schemas.microsoft.com/office/drawing/2014/main" id="{778C3DED-8709-4AAF-8834-17242FDE1083}"/>
                </a:ext>
              </a:extLst>
            </p:cNvPr>
            <p:cNvSpPr/>
            <p:nvPr/>
          </p:nvSpPr>
          <p:spPr>
            <a:xfrm>
              <a:off x="12455525" y="0"/>
              <a:ext cx="2432456"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de-DE" sz="1100" b="1" noProof="0" dirty="0">
                  <a:solidFill>
                    <a:schemeClr val="tx1"/>
                  </a:solidFill>
                  <a:latin typeface="+mn-lt"/>
                </a:rPr>
                <a:t>Hinweis zum </a:t>
              </a:r>
              <a:br>
                <a:rPr lang="de-DE" sz="1100" b="1" noProof="0" dirty="0">
                  <a:solidFill>
                    <a:schemeClr val="tx1"/>
                  </a:solidFill>
                  <a:latin typeface="+mn-lt"/>
                </a:rPr>
              </a:br>
              <a:r>
                <a:rPr lang="de-DE" sz="1100" b="1" noProof="0" dirty="0">
                  <a:solidFill>
                    <a:schemeClr val="tx1"/>
                  </a:solidFill>
                  <a:latin typeface="+mn-lt"/>
                </a:rPr>
                <a:t>schnellen Formatieren von Texten: </a:t>
              </a: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br>
                <a:rPr lang="de-DE" sz="1100" b="1" noProof="0" dirty="0">
                  <a:solidFill>
                    <a:schemeClr val="tx1"/>
                  </a:solidFill>
                  <a:latin typeface="+mn-lt"/>
                </a:rPr>
              </a:br>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r>
                <a:rPr lang="de-DE" sz="1100" b="1" noProof="0" dirty="0">
                  <a:solidFill>
                    <a:schemeClr val="tx1"/>
                  </a:solidFill>
                  <a:latin typeface="+mn-lt"/>
                </a:rPr>
                <a:t>Absatz-Zeichen</a:t>
              </a:r>
              <a:r>
                <a:rPr lang="de-DE" sz="1100" b="0" noProof="0" dirty="0">
                  <a:solidFill>
                    <a:schemeClr val="tx1"/>
                  </a:solidFill>
                  <a:latin typeface="+mn-lt"/>
                </a:rPr>
                <a:t> nutzen, um zwischen diesen vorprogrammierten Textebenen zu wechseln: </a:t>
              </a:r>
            </a:p>
          </p:txBody>
        </p:sp>
        <p:sp>
          <p:nvSpPr>
            <p:cNvPr id="40" name="Textplatzhalter 45">
              <a:extLst>
                <a:ext uri="{FF2B5EF4-FFF2-40B4-BE49-F238E27FC236}">
                  <a16:creationId xmlns:a16="http://schemas.microsoft.com/office/drawing/2014/main" id="{21D0A0C5-EE35-4FD9-8635-84DD615BB75B}"/>
                </a:ext>
              </a:extLst>
            </p:cNvPr>
            <p:cNvSpPr txBox="1">
              <a:spLocks/>
            </p:cNvSpPr>
            <p:nvPr/>
          </p:nvSpPr>
          <p:spPr>
            <a:xfrm>
              <a:off x="12623256" y="3829050"/>
              <a:ext cx="2097628" cy="1377179"/>
            </a:xfrm>
            <a:prstGeom prst="rect">
              <a:avLst/>
            </a:prstGeom>
          </p:spPr>
          <p:txBody>
            <a:bodyPr vert="horz" wrap="none"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25425" lvl="0" indent="-225425"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Char char="•"/>
              </a:pPr>
              <a:r>
                <a:rPr lang="de-DE" sz="1400" kern="1200" noProof="0" dirty="0">
                  <a:solidFill>
                    <a:schemeClr val="tx1"/>
                  </a:solidFill>
                  <a:latin typeface="+mn-lt"/>
                  <a:ea typeface="+mn-ea"/>
                  <a:cs typeface="+mn-cs"/>
                </a:rPr>
                <a:t>Erste Ebene</a:t>
              </a:r>
            </a:p>
            <a:p>
              <a:pPr marL="457200" lvl="1" indent="-225425" algn="l" defTabSz="914400" rtl="0" eaLnBrk="1" latinLnBrk="0" hangingPunct="1">
                <a:lnSpc>
                  <a:spcPct val="100000"/>
                </a:lnSpc>
                <a:spcBef>
                  <a:spcPts val="0"/>
                </a:spcBef>
                <a:spcAft>
                  <a:spcPts val="800"/>
                </a:spcAft>
                <a:buClr>
                  <a:schemeClr val="accent6"/>
                </a:buClr>
                <a:buSzPct val="110000"/>
                <a:buFont typeface="+mj-lt"/>
                <a:buAutoNum type="arabicPeriod"/>
              </a:pPr>
              <a:r>
                <a:rPr lang="de-DE" sz="1400" kern="1200" noProof="0" dirty="0">
                  <a:solidFill>
                    <a:schemeClr val="tx1"/>
                  </a:solidFill>
                  <a:latin typeface="+mn-lt"/>
                  <a:ea typeface="+mn-ea"/>
                  <a:cs typeface="+mn-cs"/>
                </a:rPr>
                <a:t>Zweite Ebene</a:t>
              </a:r>
            </a:p>
            <a:p>
              <a:pPr marL="685800" lvl="2" indent="-225425" algn="l" defTabSz="914400" rtl="0" eaLnBrk="1" latinLnBrk="0" hangingPunct="1">
                <a:lnSpc>
                  <a:spcPct val="100000"/>
                </a:lnSpc>
                <a:spcBef>
                  <a:spcPts val="0"/>
                </a:spcBef>
                <a:spcAft>
                  <a:spcPts val="800"/>
                </a:spcAft>
                <a:buClr>
                  <a:schemeClr val="accent6"/>
                </a:buClr>
                <a:buSzPct val="110000"/>
                <a:buFont typeface="+mj-lt"/>
                <a:buAutoNum type="alphaLcPeriod"/>
              </a:pPr>
              <a:r>
                <a:rPr lang="de-DE" sz="1400" b="0" kern="1200" noProof="0" dirty="0">
                  <a:solidFill>
                    <a:schemeClr val="tx1"/>
                  </a:solidFill>
                  <a:latin typeface="+mn-lt"/>
                  <a:ea typeface="+mn-ea"/>
                  <a:cs typeface="+mn-cs"/>
                </a:rPr>
                <a:t>Dritte Ebene</a:t>
              </a:r>
            </a:p>
            <a:p>
              <a:pPr marL="0" lvl="3"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kern="1200" noProof="0" dirty="0">
                  <a:solidFill>
                    <a:schemeClr val="tx1"/>
                  </a:solidFill>
                  <a:latin typeface="+mn-lt"/>
                  <a:ea typeface="+mn-ea"/>
                  <a:cs typeface="+mn-cs"/>
                </a:rPr>
                <a:t>Vierte Ebene</a:t>
              </a:r>
            </a:p>
            <a:p>
              <a:pPr marL="0" lvl="4"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b="1" kern="1200" noProof="0" dirty="0">
                  <a:solidFill>
                    <a:schemeClr val="tx1"/>
                  </a:solidFill>
                  <a:latin typeface="+mn-lt"/>
                  <a:ea typeface="+mn-ea"/>
                  <a:cs typeface="+mn-cs"/>
                </a:rPr>
                <a:t>Fünfte Ebene</a:t>
              </a:r>
            </a:p>
          </p:txBody>
        </p:sp>
        <p:grpSp>
          <p:nvGrpSpPr>
            <p:cNvPr id="41" name="Group 40">
              <a:extLst>
                <a:ext uri="{FF2B5EF4-FFF2-40B4-BE49-F238E27FC236}">
                  <a16:creationId xmlns:a16="http://schemas.microsoft.com/office/drawing/2014/main" id="{B8642445-1B42-41E2-ACD6-25B2802D0C05}"/>
                </a:ext>
              </a:extLst>
            </p:cNvPr>
            <p:cNvGrpSpPr/>
            <p:nvPr/>
          </p:nvGrpSpPr>
          <p:grpSpPr>
            <a:xfrm>
              <a:off x="12656430" y="1089171"/>
              <a:ext cx="1584137" cy="987131"/>
              <a:chOff x="3838574" y="-1487553"/>
              <a:chExt cx="1819275" cy="1133654"/>
            </a:xfrm>
          </p:grpSpPr>
          <p:pic>
            <p:nvPicPr>
              <p:cNvPr id="48" name="Picture 47">
                <a:extLst>
                  <a:ext uri="{FF2B5EF4-FFF2-40B4-BE49-F238E27FC236}">
                    <a16:creationId xmlns:a16="http://schemas.microsoft.com/office/drawing/2014/main" id="{8C8ABCFB-12D9-4AE8-91BC-4F127E332B1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838574" y="-1487553"/>
                <a:ext cx="1819275" cy="1133654"/>
              </a:xfrm>
              <a:prstGeom prst="rect">
                <a:avLst/>
              </a:prstGeom>
              <a:ln>
                <a:solidFill>
                  <a:schemeClr val="tx1"/>
                </a:solidFill>
              </a:ln>
            </p:spPr>
          </p:pic>
          <p:pic>
            <p:nvPicPr>
              <p:cNvPr id="49" name="Picture 48">
                <a:extLst>
                  <a:ext uri="{FF2B5EF4-FFF2-40B4-BE49-F238E27FC236}">
                    <a16:creationId xmlns:a16="http://schemas.microsoft.com/office/drawing/2014/main" id="{74767AC0-0251-4EB0-8FB1-77BCC3999A5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838574" y="-1197759"/>
                <a:ext cx="1758949" cy="843860"/>
              </a:xfrm>
              <a:prstGeom prst="rect">
                <a:avLst/>
              </a:prstGeom>
            </p:spPr>
          </p:pic>
          <p:sp>
            <p:nvSpPr>
              <p:cNvPr id="50" name="Rectangle 49">
                <a:extLst>
                  <a:ext uri="{FF2B5EF4-FFF2-40B4-BE49-F238E27FC236}">
                    <a16:creationId xmlns:a16="http://schemas.microsoft.com/office/drawing/2014/main" id="{C832CAC5-D6CA-4847-81E8-125EADB193E2}"/>
                  </a:ext>
                </a:extLst>
              </p:cNvPr>
              <p:cNvSpPr/>
              <p:nvPr userDrawn="1"/>
            </p:nvSpPr>
            <p:spPr>
              <a:xfrm>
                <a:off x="5517931" y="-1487553"/>
                <a:ext cx="139917" cy="983056"/>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grpSp>
        <p:sp>
          <p:nvSpPr>
            <p:cNvPr id="42" name="Oval 41">
              <a:extLst>
                <a:ext uri="{FF2B5EF4-FFF2-40B4-BE49-F238E27FC236}">
                  <a16:creationId xmlns:a16="http://schemas.microsoft.com/office/drawing/2014/main" id="{67FD6272-9595-48E3-B5A2-50DD52157663}"/>
                </a:ext>
              </a:extLst>
            </p:cNvPr>
            <p:cNvSpPr/>
            <p:nvPr/>
          </p:nvSpPr>
          <p:spPr>
            <a:xfrm>
              <a:off x="13370810" y="1243451"/>
              <a:ext cx="407914" cy="407914"/>
            </a:xfrm>
            <a:prstGeom prst="ellipse">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sp>
          <p:nvSpPr>
            <p:cNvPr id="43" name="Arc 42">
              <a:extLst>
                <a:ext uri="{FF2B5EF4-FFF2-40B4-BE49-F238E27FC236}">
                  <a16:creationId xmlns:a16="http://schemas.microsoft.com/office/drawing/2014/main" id="{1F9CFADC-D901-4317-963B-A7CDEEC81F85}"/>
                </a:ext>
              </a:extLst>
            </p:cNvPr>
            <p:cNvSpPr/>
            <p:nvPr/>
          </p:nvSpPr>
          <p:spPr>
            <a:xfrm rot="15649404">
              <a:off x="12562252" y="1598191"/>
              <a:ext cx="2019300" cy="1666765"/>
            </a:xfrm>
            <a:prstGeom prst="arc">
              <a:avLst>
                <a:gd name="adj1" fmla="val 16676483"/>
                <a:gd name="adj2" fmla="val 0"/>
              </a:avLst>
            </a:prstGeom>
            <a:ln w="28575">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100" noProof="0" dirty="0">
                <a:latin typeface="+mn-lt"/>
              </a:endParaRPr>
            </a:p>
          </p:txBody>
        </p:sp>
        <p:sp>
          <p:nvSpPr>
            <p:cNvPr id="44" name="TextBox 43">
              <a:extLst>
                <a:ext uri="{FF2B5EF4-FFF2-40B4-BE49-F238E27FC236}">
                  <a16:creationId xmlns:a16="http://schemas.microsoft.com/office/drawing/2014/main" id="{C807736D-EFE0-4F5D-B563-39667FC1A0ED}"/>
                </a:ext>
              </a:extLst>
            </p:cNvPr>
            <p:cNvSpPr txBox="1"/>
            <p:nvPr/>
          </p:nvSpPr>
          <p:spPr>
            <a:xfrm>
              <a:off x="12666422"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Start</a:t>
              </a:r>
            </a:p>
          </p:txBody>
        </p:sp>
        <p:sp>
          <p:nvSpPr>
            <p:cNvPr id="45" name="TextBox 44">
              <a:extLst>
                <a:ext uri="{FF2B5EF4-FFF2-40B4-BE49-F238E27FC236}">
                  <a16:creationId xmlns:a16="http://schemas.microsoft.com/office/drawing/2014/main" id="{910B439C-5A49-4698-B226-20C366FFE73E}"/>
                </a:ext>
              </a:extLst>
            </p:cNvPr>
            <p:cNvSpPr txBox="1"/>
            <p:nvPr/>
          </p:nvSpPr>
          <p:spPr>
            <a:xfrm>
              <a:off x="13167679"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infügen</a:t>
              </a:r>
            </a:p>
          </p:txBody>
        </p:sp>
        <p:sp>
          <p:nvSpPr>
            <p:cNvPr id="46" name="TextBox 45">
              <a:extLst>
                <a:ext uri="{FF2B5EF4-FFF2-40B4-BE49-F238E27FC236}">
                  <a16:creationId xmlns:a16="http://schemas.microsoft.com/office/drawing/2014/main" id="{3AB98A04-A3E5-4359-8E5E-7F3CB61FBB08}"/>
                </a:ext>
              </a:extLst>
            </p:cNvPr>
            <p:cNvSpPr txBox="1"/>
            <p:nvPr/>
          </p:nvSpPr>
          <p:spPr>
            <a:xfrm>
              <a:off x="13706533"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ntwurf</a:t>
              </a:r>
            </a:p>
          </p:txBody>
        </p:sp>
        <p:sp>
          <p:nvSpPr>
            <p:cNvPr id="47" name="TextBox 46">
              <a:extLst>
                <a:ext uri="{FF2B5EF4-FFF2-40B4-BE49-F238E27FC236}">
                  <a16:creationId xmlns:a16="http://schemas.microsoft.com/office/drawing/2014/main" id="{AE18B3B8-D56F-4862-B325-D0A8776BC56D}"/>
                </a:ext>
              </a:extLst>
            </p:cNvPr>
            <p:cNvSpPr txBox="1"/>
            <p:nvPr/>
          </p:nvSpPr>
          <p:spPr>
            <a:xfrm>
              <a:off x="13662625" y="1929226"/>
              <a:ext cx="546374" cy="136662"/>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Absatz</a:t>
              </a:r>
            </a:p>
          </p:txBody>
        </p:sp>
      </p:grpSp>
    </p:spTree>
    <p:extLst>
      <p:ext uri="{BB962C8B-B14F-4D97-AF65-F5344CB8AC3E}">
        <p14:creationId xmlns:p14="http://schemas.microsoft.com/office/powerpoint/2010/main" val="2000292488"/>
      </p:ext>
    </p:extLst>
  </p:cSld>
  <p:clrMapOvr>
    <a:masterClrMapping/>
  </p:clrMapOvr>
  <p:extLst>
    <p:ext uri="{DCECCB84-F9BA-43D5-87BE-67443E8EF086}">
      <p15:sldGuideLst xmlns:p15="http://schemas.microsoft.com/office/powerpoint/2012/main">
        <p15:guide id="1" pos="461" userDrawn="1">
          <p15:clr>
            <a:srgbClr val="F26B43"/>
          </p15:clr>
        </p15:guide>
        <p15:guide id="2" orient="horz" pos="648">
          <p15:clr>
            <a:srgbClr val="F26B43"/>
          </p15:clr>
        </p15:guide>
        <p15:guide id="3" orient="horz" pos="2981" userDrawn="1">
          <p15:clr>
            <a:srgbClr val="F26B43"/>
          </p15:clr>
        </p15:guide>
        <p15:guide id="4" pos="5300" userDrawn="1">
          <p15:clr>
            <a:srgbClr val="F26B43"/>
          </p15:clr>
        </p15:guide>
        <p15:guide id="5" orient="horz" pos="389">
          <p15:clr>
            <a:srgbClr val="F26B43"/>
          </p15:clr>
        </p15:guide>
        <p15:guide id="6" pos="2880" userDrawn="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mit Text &amp; Bild  / blau">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B55E966-152B-4155-BC8B-37B3DB47884B}"/>
              </a:ext>
            </a:extLst>
          </p:cNvPr>
          <p:cNvGraphicFramePr>
            <a:graphicFrameLocks noChangeAspect="1"/>
          </p:cNvGraphicFramePr>
          <p:nvPr userDrawn="1">
            <p:custDataLst>
              <p:tags r:id="rId2"/>
            </p:custDataLst>
            <p:extLst>
              <p:ext uri="{D42A27DB-BD31-4B8C-83A1-F6EECF244321}">
                <p14:modId xmlns:p14="http://schemas.microsoft.com/office/powerpoint/2010/main" val="3970720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34"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B55E966-152B-4155-BC8B-37B3DB4788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605D5426-1391-4BA2-884D-0F59552042BD}"/>
              </a:ext>
            </a:extLst>
          </p:cNvPr>
          <p:cNvSpPr/>
          <p:nvPr userDrawn="1"/>
        </p:nvSpPr>
        <p:spPr>
          <a:xfrm>
            <a:off x="366713" y="617537"/>
            <a:ext cx="8410576" cy="41148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rtl="0"/>
            <a:endParaRPr lang="de-DE" sz="1400" dirty="0">
              <a:solidFill>
                <a:schemeClr val="bg1"/>
              </a:solidFill>
            </a:endParaRPr>
          </a:p>
        </p:txBody>
      </p:sp>
      <p:sp>
        <p:nvSpPr>
          <p:cNvPr id="2" name="Title 1">
            <a:extLst>
              <a:ext uri="{FF2B5EF4-FFF2-40B4-BE49-F238E27FC236}">
                <a16:creationId xmlns:a16="http://schemas.microsoft.com/office/drawing/2014/main" id="{FA37A3E9-4AC7-40AB-9175-27E504FE91D6}"/>
              </a:ext>
            </a:extLst>
          </p:cNvPr>
          <p:cNvSpPr>
            <a:spLocks noGrp="1"/>
          </p:cNvSpPr>
          <p:nvPr>
            <p:ph type="title" hasCustomPrompt="1"/>
          </p:nvPr>
        </p:nvSpPr>
        <p:spPr/>
        <p:txBody>
          <a:bodyPr vert="horz"/>
          <a:lstStyle>
            <a:lvl1pPr rtl="0">
              <a:defRPr/>
            </a:lvl1pPr>
          </a:lstStyle>
          <a:p>
            <a:r>
              <a:rPr lang="de-DE" noProof="0" dirty="0"/>
              <a:t>Titel </a:t>
            </a:r>
            <a:br>
              <a:rPr lang="de-DE" noProof="0" dirty="0"/>
            </a:br>
            <a:r>
              <a:rPr lang="de-DE" noProof="0" dirty="0"/>
              <a:t>hinzufügen</a:t>
            </a:r>
            <a:endParaRPr lang="de-DE" dirty="0"/>
          </a:p>
        </p:txBody>
      </p:sp>
      <p:sp>
        <p:nvSpPr>
          <p:cNvPr id="6" name="Slide Number Placeholder 5">
            <a:extLst>
              <a:ext uri="{FF2B5EF4-FFF2-40B4-BE49-F238E27FC236}">
                <a16:creationId xmlns:a16="http://schemas.microsoft.com/office/drawing/2014/main" id="{944DA456-96F7-4E88-B5F0-01FD9C0599E9}"/>
              </a:ext>
            </a:extLst>
          </p:cNvPr>
          <p:cNvSpPr>
            <a:spLocks noGrp="1"/>
          </p:cNvSpPr>
          <p:nvPr>
            <p:ph type="sldNum" sz="quarter" idx="12"/>
          </p:nvPr>
        </p:nvSpPr>
        <p:spPr/>
        <p:txBody>
          <a:bodyPr/>
          <a:lstStyle>
            <a:lvl1pPr rtl="0">
              <a:defRPr/>
            </a:lvl1pPr>
          </a:lstStyle>
          <a:p>
            <a:fld id="{61A237A4-5F56-495D-ADE9-563CDE6DCB6B}" type="slidenum">
              <a:rPr lang="de-DE" smtClean="0"/>
              <a:pPr/>
              <a:t>‹Nr.›</a:t>
            </a:fld>
            <a:endParaRPr lang="de-DE" dirty="0"/>
          </a:p>
        </p:txBody>
      </p:sp>
      <p:sp>
        <p:nvSpPr>
          <p:cNvPr id="10" name="Text Placeholder 9">
            <a:extLst>
              <a:ext uri="{FF2B5EF4-FFF2-40B4-BE49-F238E27FC236}">
                <a16:creationId xmlns:a16="http://schemas.microsoft.com/office/drawing/2014/main" id="{56B40821-1E4B-4B1A-A4EC-67ED383914AF}"/>
              </a:ext>
            </a:extLst>
          </p:cNvPr>
          <p:cNvSpPr>
            <a:spLocks noGrp="1"/>
          </p:cNvSpPr>
          <p:nvPr>
            <p:ph type="body" sz="quarter" idx="13" hasCustomPrompt="1"/>
          </p:nvPr>
        </p:nvSpPr>
        <p:spPr>
          <a:xfrm>
            <a:off x="733425" y="1028701"/>
            <a:ext cx="3290888" cy="3498850"/>
          </a:xfrm>
        </p:spPr>
        <p:txBody>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noProof="0" dirty="0"/>
              <a:t>Erste Ebene</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1" name="Text Placeholder 9">
            <a:extLst>
              <a:ext uri="{FF2B5EF4-FFF2-40B4-BE49-F238E27FC236}">
                <a16:creationId xmlns:a16="http://schemas.microsoft.com/office/drawing/2014/main" id="{B4B60243-B22D-4DE0-8846-1532F903A022}"/>
              </a:ext>
            </a:extLst>
          </p:cNvPr>
          <p:cNvSpPr>
            <a:spLocks noGrp="1"/>
          </p:cNvSpPr>
          <p:nvPr>
            <p:ph type="body" sz="quarter" idx="14" hasCustomPrompt="1"/>
          </p:nvPr>
        </p:nvSpPr>
        <p:spPr>
          <a:xfrm>
            <a:off x="1098550" y="4938713"/>
            <a:ext cx="7678290" cy="204787"/>
          </a:xfrm>
        </p:spPr>
        <p:txBody>
          <a:bodyPr anchor="ctr">
            <a:noAutofit/>
          </a:bodyPr>
          <a:lstStyle>
            <a:lvl1pPr marL="0" indent="0" rtl="0">
              <a:spcAft>
                <a:spcPts val="0"/>
              </a:spcAft>
              <a:buNone/>
              <a:defRPr sz="600"/>
            </a:lvl1pPr>
            <a:lvl2pPr marL="0" indent="0">
              <a:spcAft>
                <a:spcPts val="0"/>
              </a:spcAft>
              <a:buFont typeface="Arial" panose="020B0604020202020204" pitchFamily="34" charset="0"/>
              <a:buNone/>
              <a:defRPr sz="600"/>
            </a:lvl2pPr>
            <a:lvl3pPr marL="0" indent="0">
              <a:spcAft>
                <a:spcPts val="0"/>
              </a:spcAft>
              <a:buFont typeface="Arial" panose="020B0604020202020204" pitchFamily="34" charset="0"/>
              <a:buNone/>
              <a:defRPr sz="600"/>
            </a:lvl3pPr>
          </a:lstStyle>
          <a:p>
            <a:pPr lvl="0"/>
            <a:r>
              <a:rPr lang="de-DE" noProof="0" dirty="0"/>
              <a:t>Quelle: </a:t>
            </a:r>
          </a:p>
        </p:txBody>
      </p:sp>
      <p:sp>
        <p:nvSpPr>
          <p:cNvPr id="36" name="Freeform: Shape 35">
            <a:extLst>
              <a:ext uri="{FF2B5EF4-FFF2-40B4-BE49-F238E27FC236}">
                <a16:creationId xmlns:a16="http://schemas.microsoft.com/office/drawing/2014/main" id="{10FED169-D09C-49C6-98BE-A236DFC40622}"/>
              </a:ext>
            </a:extLst>
          </p:cNvPr>
          <p:cNvSpPr/>
          <p:nvPr/>
        </p:nvSpPr>
        <p:spPr>
          <a:xfrm flipV="1">
            <a:off x="4292182" y="3915582"/>
            <a:ext cx="563111" cy="562570"/>
          </a:xfrm>
          <a:custGeom>
            <a:avLst/>
            <a:gdLst>
              <a:gd name="connsiteX0" fmla="*/ 281556 w 563111"/>
              <a:gd name="connsiteY0" fmla="*/ 102334 h 562570"/>
              <a:gd name="connsiteX1" fmla="*/ 332725 w 563111"/>
              <a:gd name="connsiteY1" fmla="*/ 51167 h 562570"/>
              <a:gd name="connsiteX2" fmla="*/ 281556 w 563111"/>
              <a:gd name="connsiteY2" fmla="*/ 0 h 562570"/>
              <a:gd name="connsiteX3" fmla="*/ 230389 w 563111"/>
              <a:gd name="connsiteY3" fmla="*/ 51167 h 562570"/>
              <a:gd name="connsiteX4" fmla="*/ 281556 w 563111"/>
              <a:gd name="connsiteY4" fmla="*/ 102334 h 562570"/>
              <a:gd name="connsiteX5" fmla="*/ 511944 w 563111"/>
              <a:gd name="connsiteY5" fmla="*/ 332451 h 562570"/>
              <a:gd name="connsiteX6" fmla="*/ 563111 w 563111"/>
              <a:gd name="connsiteY6" fmla="*/ 281284 h 562570"/>
              <a:gd name="connsiteX7" fmla="*/ 511944 w 563111"/>
              <a:gd name="connsiteY7" fmla="*/ 230117 h 562570"/>
              <a:gd name="connsiteX8" fmla="*/ 460777 w 563111"/>
              <a:gd name="connsiteY8" fmla="*/ 281284 h 562570"/>
              <a:gd name="connsiteX9" fmla="*/ 511944 w 563111"/>
              <a:gd name="connsiteY9" fmla="*/ 332451 h 562570"/>
              <a:gd name="connsiteX10" fmla="*/ 51167 w 563111"/>
              <a:gd name="connsiteY10" fmla="*/ 332451 h 562570"/>
              <a:gd name="connsiteX11" fmla="*/ 102334 w 563111"/>
              <a:gd name="connsiteY11" fmla="*/ 281284 h 562570"/>
              <a:gd name="connsiteX12" fmla="*/ 51167 w 563111"/>
              <a:gd name="connsiteY12" fmla="*/ 230117 h 562570"/>
              <a:gd name="connsiteX13" fmla="*/ 0 w 563111"/>
              <a:gd name="connsiteY13" fmla="*/ 281284 h 562570"/>
              <a:gd name="connsiteX14" fmla="*/ 51167 w 563111"/>
              <a:gd name="connsiteY14" fmla="*/ 332451 h 562570"/>
              <a:gd name="connsiteX15" fmla="*/ 281627 w 563111"/>
              <a:gd name="connsiteY15" fmla="*/ 441199 h 562570"/>
              <a:gd name="connsiteX16" fmla="*/ 332796 w 563111"/>
              <a:gd name="connsiteY16" fmla="*/ 390034 h 562570"/>
              <a:gd name="connsiteX17" fmla="*/ 332796 w 563111"/>
              <a:gd name="connsiteY17" fmla="*/ 383642 h 562570"/>
              <a:gd name="connsiteX18" fmla="*/ 383965 w 563111"/>
              <a:gd name="connsiteY18" fmla="*/ 332473 h 562570"/>
              <a:gd name="connsiteX19" fmla="*/ 390355 w 563111"/>
              <a:gd name="connsiteY19" fmla="*/ 332473 h 562570"/>
              <a:gd name="connsiteX20" fmla="*/ 441524 w 563111"/>
              <a:gd name="connsiteY20" fmla="*/ 281306 h 562570"/>
              <a:gd name="connsiteX21" fmla="*/ 390355 w 563111"/>
              <a:gd name="connsiteY21" fmla="*/ 230139 h 562570"/>
              <a:gd name="connsiteX22" fmla="*/ 383965 w 563111"/>
              <a:gd name="connsiteY22" fmla="*/ 230139 h 562570"/>
              <a:gd name="connsiteX23" fmla="*/ 332796 w 563111"/>
              <a:gd name="connsiteY23" fmla="*/ 178972 h 562570"/>
              <a:gd name="connsiteX24" fmla="*/ 332796 w 563111"/>
              <a:gd name="connsiteY24" fmla="*/ 172580 h 562570"/>
              <a:gd name="connsiteX25" fmla="*/ 281627 w 563111"/>
              <a:gd name="connsiteY25" fmla="*/ 121411 h 562570"/>
              <a:gd name="connsiteX26" fmla="*/ 230460 w 563111"/>
              <a:gd name="connsiteY26" fmla="*/ 172580 h 562570"/>
              <a:gd name="connsiteX27" fmla="*/ 230460 w 563111"/>
              <a:gd name="connsiteY27" fmla="*/ 178972 h 562570"/>
              <a:gd name="connsiteX28" fmla="*/ 179293 w 563111"/>
              <a:gd name="connsiteY28" fmla="*/ 230139 h 562570"/>
              <a:gd name="connsiteX29" fmla="*/ 172896 w 563111"/>
              <a:gd name="connsiteY29" fmla="*/ 230139 h 562570"/>
              <a:gd name="connsiteX30" fmla="*/ 121729 w 563111"/>
              <a:gd name="connsiteY30" fmla="*/ 281306 h 562570"/>
              <a:gd name="connsiteX31" fmla="*/ 172896 w 563111"/>
              <a:gd name="connsiteY31" fmla="*/ 332473 h 562570"/>
              <a:gd name="connsiteX32" fmla="*/ 179293 w 563111"/>
              <a:gd name="connsiteY32" fmla="*/ 332475 h 562570"/>
              <a:gd name="connsiteX33" fmla="*/ 230460 w 563111"/>
              <a:gd name="connsiteY33" fmla="*/ 383642 h 562570"/>
              <a:gd name="connsiteX34" fmla="*/ 230460 w 563111"/>
              <a:gd name="connsiteY34" fmla="*/ 390034 h 562570"/>
              <a:gd name="connsiteX35" fmla="*/ 281627 w 563111"/>
              <a:gd name="connsiteY35" fmla="*/ 441199 h 562570"/>
              <a:gd name="connsiteX36" fmla="*/ 281556 w 563111"/>
              <a:gd name="connsiteY36" fmla="*/ 562570 h 562570"/>
              <a:gd name="connsiteX37" fmla="*/ 332725 w 563111"/>
              <a:gd name="connsiteY37" fmla="*/ 511403 h 562570"/>
              <a:gd name="connsiteX38" fmla="*/ 281556 w 563111"/>
              <a:gd name="connsiteY38" fmla="*/ 460236 h 562570"/>
              <a:gd name="connsiteX39" fmla="*/ 230389 w 563111"/>
              <a:gd name="connsiteY39" fmla="*/ 511403 h 562570"/>
              <a:gd name="connsiteX40" fmla="*/ 281556 w 563111"/>
              <a:gd name="connsiteY40" fmla="*/ 562570 h 5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63111" h="562570">
                <a:moveTo>
                  <a:pt x="281556" y="102334"/>
                </a:moveTo>
                <a:cubicBezTo>
                  <a:pt x="309819" y="102334"/>
                  <a:pt x="332725" y="79425"/>
                  <a:pt x="332725" y="51167"/>
                </a:cubicBezTo>
                <a:cubicBezTo>
                  <a:pt x="332725" y="22906"/>
                  <a:pt x="309819" y="0"/>
                  <a:pt x="281556" y="0"/>
                </a:cubicBezTo>
                <a:cubicBezTo>
                  <a:pt x="253298" y="0"/>
                  <a:pt x="230389" y="22906"/>
                  <a:pt x="230389" y="51167"/>
                </a:cubicBezTo>
                <a:cubicBezTo>
                  <a:pt x="230389" y="79425"/>
                  <a:pt x="253298" y="102334"/>
                  <a:pt x="281556" y="102334"/>
                </a:cubicBezTo>
                <a:close/>
                <a:moveTo>
                  <a:pt x="511944" y="332451"/>
                </a:moveTo>
                <a:cubicBezTo>
                  <a:pt x="540205" y="332451"/>
                  <a:pt x="563111" y="309542"/>
                  <a:pt x="563111" y="281284"/>
                </a:cubicBezTo>
                <a:cubicBezTo>
                  <a:pt x="563111" y="253023"/>
                  <a:pt x="540205" y="230117"/>
                  <a:pt x="511944" y="230117"/>
                </a:cubicBezTo>
                <a:cubicBezTo>
                  <a:pt x="483686" y="230117"/>
                  <a:pt x="460777" y="253023"/>
                  <a:pt x="460777" y="281284"/>
                </a:cubicBezTo>
                <a:cubicBezTo>
                  <a:pt x="460777" y="309542"/>
                  <a:pt x="483686" y="332451"/>
                  <a:pt x="511944" y="332451"/>
                </a:cubicBezTo>
                <a:close/>
                <a:moveTo>
                  <a:pt x="51167" y="332451"/>
                </a:moveTo>
                <a:cubicBezTo>
                  <a:pt x="79428" y="332451"/>
                  <a:pt x="102334" y="309542"/>
                  <a:pt x="102334" y="281284"/>
                </a:cubicBezTo>
                <a:cubicBezTo>
                  <a:pt x="102334" y="253023"/>
                  <a:pt x="79428" y="230117"/>
                  <a:pt x="51167" y="230117"/>
                </a:cubicBezTo>
                <a:cubicBezTo>
                  <a:pt x="22909" y="230117"/>
                  <a:pt x="0" y="253023"/>
                  <a:pt x="0" y="281284"/>
                </a:cubicBezTo>
                <a:cubicBezTo>
                  <a:pt x="0" y="309542"/>
                  <a:pt x="22909" y="332451"/>
                  <a:pt x="51167" y="332451"/>
                </a:cubicBezTo>
                <a:close/>
                <a:moveTo>
                  <a:pt x="281627" y="441199"/>
                </a:moveTo>
                <a:cubicBezTo>
                  <a:pt x="309890" y="441199"/>
                  <a:pt x="332796" y="418290"/>
                  <a:pt x="332796" y="390034"/>
                </a:cubicBezTo>
                <a:lnTo>
                  <a:pt x="332796" y="383642"/>
                </a:lnTo>
                <a:cubicBezTo>
                  <a:pt x="332796" y="355379"/>
                  <a:pt x="355704" y="332473"/>
                  <a:pt x="383965" y="332473"/>
                </a:cubicBezTo>
                <a:lnTo>
                  <a:pt x="390355" y="332473"/>
                </a:lnTo>
                <a:cubicBezTo>
                  <a:pt x="418616" y="332473"/>
                  <a:pt x="441524" y="309567"/>
                  <a:pt x="441524" y="281306"/>
                </a:cubicBezTo>
                <a:cubicBezTo>
                  <a:pt x="441524" y="253045"/>
                  <a:pt x="418616" y="230139"/>
                  <a:pt x="390355" y="230139"/>
                </a:cubicBezTo>
                <a:lnTo>
                  <a:pt x="383965" y="230139"/>
                </a:lnTo>
                <a:cubicBezTo>
                  <a:pt x="355704" y="230139"/>
                  <a:pt x="332796" y="207233"/>
                  <a:pt x="332796" y="178972"/>
                </a:cubicBezTo>
                <a:lnTo>
                  <a:pt x="332796" y="172580"/>
                </a:lnTo>
                <a:cubicBezTo>
                  <a:pt x="332796" y="144317"/>
                  <a:pt x="309890" y="121411"/>
                  <a:pt x="281627" y="121411"/>
                </a:cubicBezTo>
                <a:cubicBezTo>
                  <a:pt x="253371" y="121411"/>
                  <a:pt x="230460" y="144317"/>
                  <a:pt x="230460" y="172580"/>
                </a:cubicBezTo>
                <a:lnTo>
                  <a:pt x="230460" y="178972"/>
                </a:lnTo>
                <a:cubicBezTo>
                  <a:pt x="230460" y="207233"/>
                  <a:pt x="207553" y="230139"/>
                  <a:pt x="179293" y="230139"/>
                </a:cubicBezTo>
                <a:lnTo>
                  <a:pt x="172896" y="230139"/>
                </a:lnTo>
                <a:cubicBezTo>
                  <a:pt x="144638" y="230139"/>
                  <a:pt x="121729" y="253045"/>
                  <a:pt x="121729" y="281306"/>
                </a:cubicBezTo>
                <a:cubicBezTo>
                  <a:pt x="121729" y="309567"/>
                  <a:pt x="144638" y="332473"/>
                  <a:pt x="172896" y="332473"/>
                </a:cubicBezTo>
                <a:lnTo>
                  <a:pt x="179293" y="332475"/>
                </a:lnTo>
                <a:cubicBezTo>
                  <a:pt x="207553" y="332475"/>
                  <a:pt x="230460" y="355379"/>
                  <a:pt x="230460" y="383642"/>
                </a:cubicBezTo>
                <a:lnTo>
                  <a:pt x="230460" y="390034"/>
                </a:lnTo>
                <a:cubicBezTo>
                  <a:pt x="230460" y="418290"/>
                  <a:pt x="253371" y="441199"/>
                  <a:pt x="281627" y="441199"/>
                </a:cubicBezTo>
                <a:close/>
                <a:moveTo>
                  <a:pt x="281556" y="562570"/>
                </a:moveTo>
                <a:cubicBezTo>
                  <a:pt x="309819" y="562570"/>
                  <a:pt x="332725" y="539661"/>
                  <a:pt x="332725" y="511403"/>
                </a:cubicBezTo>
                <a:cubicBezTo>
                  <a:pt x="332725" y="483142"/>
                  <a:pt x="309819" y="460236"/>
                  <a:pt x="281556" y="460236"/>
                </a:cubicBezTo>
                <a:cubicBezTo>
                  <a:pt x="253298" y="460236"/>
                  <a:pt x="230389" y="483142"/>
                  <a:pt x="230389" y="511403"/>
                </a:cubicBezTo>
                <a:cubicBezTo>
                  <a:pt x="230389" y="539661"/>
                  <a:pt x="253298" y="562570"/>
                  <a:pt x="281556" y="562570"/>
                </a:cubicBezTo>
                <a:close/>
              </a:path>
            </a:pathLst>
          </a:custGeom>
          <a:solidFill>
            <a:schemeClr val="accent6"/>
          </a:solidFill>
          <a:ln w="2251" cap="flat">
            <a:noFill/>
            <a:prstDash val="solid"/>
            <a:miter/>
          </a:ln>
        </p:spPr>
        <p:txBody>
          <a:bodyPr rtlCol="0" anchor="ctr"/>
          <a:lstStyle/>
          <a:p>
            <a:pPr rtl="0"/>
            <a:endParaRPr lang="de-DE" dirty="0"/>
          </a:p>
        </p:txBody>
      </p:sp>
      <p:grpSp>
        <p:nvGrpSpPr>
          <p:cNvPr id="37" name="Group 36">
            <a:extLst>
              <a:ext uri="{FF2B5EF4-FFF2-40B4-BE49-F238E27FC236}">
                <a16:creationId xmlns:a16="http://schemas.microsoft.com/office/drawing/2014/main" id="{3ECB7FA2-67B3-44CB-AE68-09027E7CD1C1}"/>
              </a:ext>
            </a:extLst>
          </p:cNvPr>
          <p:cNvGrpSpPr/>
          <p:nvPr userDrawn="1"/>
        </p:nvGrpSpPr>
        <p:grpSpPr>
          <a:xfrm>
            <a:off x="9507912" y="0"/>
            <a:ext cx="1826837" cy="5143500"/>
            <a:chOff x="12455525" y="0"/>
            <a:chExt cx="2432456" cy="6858000"/>
          </a:xfrm>
        </p:grpSpPr>
        <p:sp>
          <p:nvSpPr>
            <p:cNvPr id="38" name="Rectangle 37">
              <a:extLst>
                <a:ext uri="{FF2B5EF4-FFF2-40B4-BE49-F238E27FC236}">
                  <a16:creationId xmlns:a16="http://schemas.microsoft.com/office/drawing/2014/main" id="{7CC69301-10FA-4272-8D11-C66A0DF75C3C}"/>
                </a:ext>
              </a:extLst>
            </p:cNvPr>
            <p:cNvSpPr/>
            <p:nvPr/>
          </p:nvSpPr>
          <p:spPr>
            <a:xfrm>
              <a:off x="12455525" y="0"/>
              <a:ext cx="2432456"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de-DE" sz="1100" b="1" noProof="0" dirty="0">
                  <a:solidFill>
                    <a:schemeClr val="tx1"/>
                  </a:solidFill>
                  <a:latin typeface="+mn-lt"/>
                </a:rPr>
                <a:t>Hinweis zum </a:t>
              </a:r>
              <a:br>
                <a:rPr lang="de-DE" sz="1100" b="1" noProof="0" dirty="0">
                  <a:solidFill>
                    <a:schemeClr val="tx1"/>
                  </a:solidFill>
                  <a:latin typeface="+mn-lt"/>
                </a:rPr>
              </a:br>
              <a:r>
                <a:rPr lang="de-DE" sz="1100" b="1" noProof="0" dirty="0">
                  <a:solidFill>
                    <a:schemeClr val="tx1"/>
                  </a:solidFill>
                  <a:latin typeface="+mn-lt"/>
                </a:rPr>
                <a:t>schnellen Formatieren von Texten: </a:t>
              </a: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br>
                <a:rPr lang="de-DE" sz="1100" b="1" noProof="0" dirty="0">
                  <a:solidFill>
                    <a:schemeClr val="tx1"/>
                  </a:solidFill>
                  <a:latin typeface="+mn-lt"/>
                </a:rPr>
              </a:br>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r>
                <a:rPr lang="de-DE" sz="1100" b="1" noProof="0" dirty="0">
                  <a:solidFill>
                    <a:schemeClr val="tx1"/>
                  </a:solidFill>
                  <a:latin typeface="+mn-lt"/>
                </a:rPr>
                <a:t>Absatz-Zeichen</a:t>
              </a:r>
              <a:r>
                <a:rPr lang="de-DE" sz="1100" b="0" noProof="0" dirty="0">
                  <a:solidFill>
                    <a:schemeClr val="tx1"/>
                  </a:solidFill>
                  <a:latin typeface="+mn-lt"/>
                </a:rPr>
                <a:t> nutzen, um zwischen diesen vorprogrammierten Textebenen zu wechseln: </a:t>
              </a:r>
            </a:p>
          </p:txBody>
        </p:sp>
        <p:sp>
          <p:nvSpPr>
            <p:cNvPr id="40" name="Textplatzhalter 45">
              <a:extLst>
                <a:ext uri="{FF2B5EF4-FFF2-40B4-BE49-F238E27FC236}">
                  <a16:creationId xmlns:a16="http://schemas.microsoft.com/office/drawing/2014/main" id="{D21F0E1A-2E4C-4166-B8D9-DB8787F397BC}"/>
                </a:ext>
              </a:extLst>
            </p:cNvPr>
            <p:cNvSpPr txBox="1">
              <a:spLocks/>
            </p:cNvSpPr>
            <p:nvPr/>
          </p:nvSpPr>
          <p:spPr>
            <a:xfrm>
              <a:off x="12623256" y="3829050"/>
              <a:ext cx="2097628" cy="1377179"/>
            </a:xfrm>
            <a:prstGeom prst="rect">
              <a:avLst/>
            </a:prstGeom>
          </p:spPr>
          <p:txBody>
            <a:bodyPr vert="horz" wrap="none"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25425" lvl="0" indent="-225425"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Char char="•"/>
              </a:pPr>
              <a:r>
                <a:rPr lang="de-DE" sz="1400" kern="1200" noProof="0" dirty="0">
                  <a:solidFill>
                    <a:schemeClr val="tx1"/>
                  </a:solidFill>
                  <a:latin typeface="+mn-lt"/>
                  <a:ea typeface="+mn-ea"/>
                  <a:cs typeface="+mn-cs"/>
                </a:rPr>
                <a:t>Erste Ebene</a:t>
              </a:r>
            </a:p>
            <a:p>
              <a:pPr marL="457200" lvl="1" indent="-225425" algn="l" defTabSz="914400" rtl="0" eaLnBrk="1" latinLnBrk="0" hangingPunct="1">
                <a:lnSpc>
                  <a:spcPct val="100000"/>
                </a:lnSpc>
                <a:spcBef>
                  <a:spcPts val="0"/>
                </a:spcBef>
                <a:spcAft>
                  <a:spcPts val="800"/>
                </a:spcAft>
                <a:buClr>
                  <a:schemeClr val="accent6"/>
                </a:buClr>
                <a:buSzPct val="110000"/>
                <a:buFont typeface="+mj-lt"/>
                <a:buAutoNum type="arabicPeriod"/>
              </a:pPr>
              <a:r>
                <a:rPr lang="de-DE" sz="1400" kern="1200" noProof="0" dirty="0">
                  <a:solidFill>
                    <a:schemeClr val="tx1"/>
                  </a:solidFill>
                  <a:latin typeface="+mn-lt"/>
                  <a:ea typeface="+mn-ea"/>
                  <a:cs typeface="+mn-cs"/>
                </a:rPr>
                <a:t>Zweite Ebene</a:t>
              </a:r>
            </a:p>
            <a:p>
              <a:pPr marL="685800" lvl="2" indent="-225425" algn="l" defTabSz="914400" rtl="0" eaLnBrk="1" latinLnBrk="0" hangingPunct="1">
                <a:lnSpc>
                  <a:spcPct val="100000"/>
                </a:lnSpc>
                <a:spcBef>
                  <a:spcPts val="0"/>
                </a:spcBef>
                <a:spcAft>
                  <a:spcPts val="800"/>
                </a:spcAft>
                <a:buClr>
                  <a:schemeClr val="accent6"/>
                </a:buClr>
                <a:buSzPct val="110000"/>
                <a:buFont typeface="+mj-lt"/>
                <a:buAutoNum type="alphaLcPeriod"/>
              </a:pPr>
              <a:r>
                <a:rPr lang="de-DE" sz="1400" b="0" kern="1200" noProof="0" dirty="0">
                  <a:solidFill>
                    <a:schemeClr val="tx1"/>
                  </a:solidFill>
                  <a:latin typeface="+mn-lt"/>
                  <a:ea typeface="+mn-ea"/>
                  <a:cs typeface="+mn-cs"/>
                </a:rPr>
                <a:t>Dritte Ebene</a:t>
              </a:r>
            </a:p>
            <a:p>
              <a:pPr marL="0" lvl="3"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kern="1200" noProof="0" dirty="0">
                  <a:solidFill>
                    <a:schemeClr val="tx1"/>
                  </a:solidFill>
                  <a:latin typeface="+mn-lt"/>
                  <a:ea typeface="+mn-ea"/>
                  <a:cs typeface="+mn-cs"/>
                </a:rPr>
                <a:t>Vierte Ebene</a:t>
              </a:r>
            </a:p>
            <a:p>
              <a:pPr marL="0" lvl="4"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b="1" kern="1200" noProof="0" dirty="0">
                  <a:solidFill>
                    <a:schemeClr val="tx1"/>
                  </a:solidFill>
                  <a:latin typeface="+mn-lt"/>
                  <a:ea typeface="+mn-ea"/>
                  <a:cs typeface="+mn-cs"/>
                </a:rPr>
                <a:t>Fünfte Ebene</a:t>
              </a:r>
            </a:p>
          </p:txBody>
        </p:sp>
        <p:grpSp>
          <p:nvGrpSpPr>
            <p:cNvPr id="41" name="Group 40">
              <a:extLst>
                <a:ext uri="{FF2B5EF4-FFF2-40B4-BE49-F238E27FC236}">
                  <a16:creationId xmlns:a16="http://schemas.microsoft.com/office/drawing/2014/main" id="{0FEF9328-504C-4B8F-B453-D677553DB21C}"/>
                </a:ext>
              </a:extLst>
            </p:cNvPr>
            <p:cNvGrpSpPr/>
            <p:nvPr/>
          </p:nvGrpSpPr>
          <p:grpSpPr>
            <a:xfrm>
              <a:off x="12656430" y="1089171"/>
              <a:ext cx="1584137" cy="987131"/>
              <a:chOff x="3838574" y="-1487553"/>
              <a:chExt cx="1819275" cy="1133654"/>
            </a:xfrm>
          </p:grpSpPr>
          <p:pic>
            <p:nvPicPr>
              <p:cNvPr id="48" name="Picture 47">
                <a:extLst>
                  <a:ext uri="{FF2B5EF4-FFF2-40B4-BE49-F238E27FC236}">
                    <a16:creationId xmlns:a16="http://schemas.microsoft.com/office/drawing/2014/main" id="{3AFFEFF5-A8E1-4E6B-95D3-219ED446EAF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838574" y="-1487553"/>
                <a:ext cx="1819275" cy="1133654"/>
              </a:xfrm>
              <a:prstGeom prst="rect">
                <a:avLst/>
              </a:prstGeom>
              <a:ln>
                <a:solidFill>
                  <a:schemeClr val="tx1"/>
                </a:solidFill>
              </a:ln>
            </p:spPr>
          </p:pic>
          <p:pic>
            <p:nvPicPr>
              <p:cNvPr id="49" name="Picture 48">
                <a:extLst>
                  <a:ext uri="{FF2B5EF4-FFF2-40B4-BE49-F238E27FC236}">
                    <a16:creationId xmlns:a16="http://schemas.microsoft.com/office/drawing/2014/main" id="{0134950F-1265-461E-9061-BBB355AB194D}"/>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838574" y="-1197759"/>
                <a:ext cx="1758949" cy="843860"/>
              </a:xfrm>
              <a:prstGeom prst="rect">
                <a:avLst/>
              </a:prstGeom>
            </p:spPr>
          </p:pic>
          <p:sp>
            <p:nvSpPr>
              <p:cNvPr id="50" name="Rectangle 49">
                <a:extLst>
                  <a:ext uri="{FF2B5EF4-FFF2-40B4-BE49-F238E27FC236}">
                    <a16:creationId xmlns:a16="http://schemas.microsoft.com/office/drawing/2014/main" id="{8FFAACD2-6862-48A7-9473-6F98E1323E5A}"/>
                  </a:ext>
                </a:extLst>
              </p:cNvPr>
              <p:cNvSpPr/>
              <p:nvPr userDrawn="1"/>
            </p:nvSpPr>
            <p:spPr>
              <a:xfrm>
                <a:off x="5517931" y="-1487553"/>
                <a:ext cx="139917" cy="983056"/>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grpSp>
        <p:sp>
          <p:nvSpPr>
            <p:cNvPr id="42" name="Oval 41">
              <a:extLst>
                <a:ext uri="{FF2B5EF4-FFF2-40B4-BE49-F238E27FC236}">
                  <a16:creationId xmlns:a16="http://schemas.microsoft.com/office/drawing/2014/main" id="{4F4E67FB-AE91-4F8F-8C1C-857822F754A6}"/>
                </a:ext>
              </a:extLst>
            </p:cNvPr>
            <p:cNvSpPr/>
            <p:nvPr/>
          </p:nvSpPr>
          <p:spPr>
            <a:xfrm>
              <a:off x="13370810" y="1243451"/>
              <a:ext cx="407914" cy="407914"/>
            </a:xfrm>
            <a:prstGeom prst="ellipse">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sp>
          <p:nvSpPr>
            <p:cNvPr id="43" name="Arc 42">
              <a:extLst>
                <a:ext uri="{FF2B5EF4-FFF2-40B4-BE49-F238E27FC236}">
                  <a16:creationId xmlns:a16="http://schemas.microsoft.com/office/drawing/2014/main" id="{CCC07CBA-68E4-4722-9A39-7EC8770D2ABE}"/>
                </a:ext>
              </a:extLst>
            </p:cNvPr>
            <p:cNvSpPr/>
            <p:nvPr/>
          </p:nvSpPr>
          <p:spPr>
            <a:xfrm rot="15649404">
              <a:off x="12562252" y="1598191"/>
              <a:ext cx="2019300" cy="1666765"/>
            </a:xfrm>
            <a:prstGeom prst="arc">
              <a:avLst>
                <a:gd name="adj1" fmla="val 16676483"/>
                <a:gd name="adj2" fmla="val 0"/>
              </a:avLst>
            </a:prstGeom>
            <a:ln w="28575">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100" noProof="0" dirty="0">
                <a:latin typeface="+mn-lt"/>
              </a:endParaRPr>
            </a:p>
          </p:txBody>
        </p:sp>
        <p:sp>
          <p:nvSpPr>
            <p:cNvPr id="44" name="TextBox 43">
              <a:extLst>
                <a:ext uri="{FF2B5EF4-FFF2-40B4-BE49-F238E27FC236}">
                  <a16:creationId xmlns:a16="http://schemas.microsoft.com/office/drawing/2014/main" id="{4122A306-A592-4342-9007-5442D117486B}"/>
                </a:ext>
              </a:extLst>
            </p:cNvPr>
            <p:cNvSpPr txBox="1"/>
            <p:nvPr/>
          </p:nvSpPr>
          <p:spPr>
            <a:xfrm>
              <a:off x="12666422"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Start</a:t>
              </a:r>
            </a:p>
          </p:txBody>
        </p:sp>
        <p:sp>
          <p:nvSpPr>
            <p:cNvPr id="45" name="TextBox 44">
              <a:extLst>
                <a:ext uri="{FF2B5EF4-FFF2-40B4-BE49-F238E27FC236}">
                  <a16:creationId xmlns:a16="http://schemas.microsoft.com/office/drawing/2014/main" id="{AEECA1DE-A6BA-4186-B850-D9BFF52CFA7C}"/>
                </a:ext>
              </a:extLst>
            </p:cNvPr>
            <p:cNvSpPr txBox="1"/>
            <p:nvPr/>
          </p:nvSpPr>
          <p:spPr>
            <a:xfrm>
              <a:off x="13167679"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infügen</a:t>
              </a:r>
            </a:p>
          </p:txBody>
        </p:sp>
        <p:sp>
          <p:nvSpPr>
            <p:cNvPr id="46" name="TextBox 45">
              <a:extLst>
                <a:ext uri="{FF2B5EF4-FFF2-40B4-BE49-F238E27FC236}">
                  <a16:creationId xmlns:a16="http://schemas.microsoft.com/office/drawing/2014/main" id="{9B3F9267-4410-4458-9251-984A6A3212E5}"/>
                </a:ext>
              </a:extLst>
            </p:cNvPr>
            <p:cNvSpPr txBox="1"/>
            <p:nvPr/>
          </p:nvSpPr>
          <p:spPr>
            <a:xfrm>
              <a:off x="13706533"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ntwurf</a:t>
              </a:r>
            </a:p>
          </p:txBody>
        </p:sp>
        <p:sp>
          <p:nvSpPr>
            <p:cNvPr id="47" name="TextBox 46">
              <a:extLst>
                <a:ext uri="{FF2B5EF4-FFF2-40B4-BE49-F238E27FC236}">
                  <a16:creationId xmlns:a16="http://schemas.microsoft.com/office/drawing/2014/main" id="{DBCBB325-F983-4298-8E5C-C911A8557A00}"/>
                </a:ext>
              </a:extLst>
            </p:cNvPr>
            <p:cNvSpPr txBox="1"/>
            <p:nvPr/>
          </p:nvSpPr>
          <p:spPr>
            <a:xfrm>
              <a:off x="13662625" y="1929226"/>
              <a:ext cx="546374" cy="136662"/>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Absatz</a:t>
              </a:r>
            </a:p>
          </p:txBody>
        </p:sp>
      </p:grpSp>
      <p:sp>
        <p:nvSpPr>
          <p:cNvPr id="23" name="Freeform: Shape 22">
            <a:extLst>
              <a:ext uri="{FF2B5EF4-FFF2-40B4-BE49-F238E27FC236}">
                <a16:creationId xmlns:a16="http://schemas.microsoft.com/office/drawing/2014/main" id="{E169AAE0-4078-48ED-A215-B6F0ED8AB558}"/>
              </a:ext>
            </a:extLst>
          </p:cNvPr>
          <p:cNvSpPr>
            <a:spLocks noGrp="1"/>
          </p:cNvSpPr>
          <p:nvPr>
            <p:ph type="pic" sz="quarter" idx="18" hasCustomPrompt="1"/>
          </p:nvPr>
        </p:nvSpPr>
        <p:spPr>
          <a:xfrm>
            <a:off x="4572000" y="617538"/>
            <a:ext cx="4205289" cy="4114800"/>
          </a:xfrm>
          <a:custGeom>
            <a:avLst/>
            <a:gdLst>
              <a:gd name="connsiteX0" fmla="*/ 232126 w 4205289"/>
              <a:gd name="connsiteY0" fmla="*/ 3528164 h 4114801"/>
              <a:gd name="connsiteX1" fmla="*/ 180959 w 4205289"/>
              <a:gd name="connsiteY1" fmla="*/ 3579331 h 4114801"/>
              <a:gd name="connsiteX2" fmla="*/ 232126 w 4205289"/>
              <a:gd name="connsiteY2" fmla="*/ 3630498 h 4114801"/>
              <a:gd name="connsiteX3" fmla="*/ 283293 w 4205289"/>
              <a:gd name="connsiteY3" fmla="*/ 3579331 h 4114801"/>
              <a:gd name="connsiteX4" fmla="*/ 232126 w 4205289"/>
              <a:gd name="connsiteY4" fmla="*/ 3528164 h 4114801"/>
              <a:gd name="connsiteX5" fmla="*/ 0 w 4205289"/>
              <a:gd name="connsiteY5" fmla="*/ 0 h 4114801"/>
              <a:gd name="connsiteX6" fmla="*/ 4204840 w 4205289"/>
              <a:gd name="connsiteY6" fmla="*/ 0 h 4114801"/>
              <a:gd name="connsiteX7" fmla="*/ 4204840 w 4205289"/>
              <a:gd name="connsiteY7" fmla="*/ 1646238 h 4114801"/>
              <a:gd name="connsiteX8" fmla="*/ 4205289 w 4205289"/>
              <a:gd name="connsiteY8" fmla="*/ 1646238 h 4114801"/>
              <a:gd name="connsiteX9" fmla="*/ 4205289 w 4205289"/>
              <a:gd name="connsiteY9" fmla="*/ 4114801 h 4114801"/>
              <a:gd name="connsiteX10" fmla="*/ 3475038 w 4205289"/>
              <a:gd name="connsiteY10" fmla="*/ 4114801 h 4114801"/>
              <a:gd name="connsiteX11" fmla="*/ 2862312 w 4205289"/>
              <a:gd name="connsiteY11" fmla="*/ 4114801 h 4114801"/>
              <a:gd name="connsiteX12" fmla="*/ 0 w 4205289"/>
              <a:gd name="connsiteY12" fmla="*/ 4114801 h 4114801"/>
              <a:gd name="connsiteX13" fmla="*/ 0 w 4205289"/>
              <a:gd name="connsiteY13" fmla="*/ 3910014 h 4114801"/>
              <a:gd name="connsiteX14" fmla="*/ 0 w 4205289"/>
              <a:gd name="connsiteY14" fmla="*/ 3884613 h 4114801"/>
              <a:gd name="connsiteX15" fmla="*/ 0 w 4205289"/>
              <a:gd name="connsiteY15" fmla="*/ 3860264 h 4114801"/>
              <a:gd name="connsiteX16" fmla="*/ 1738 w 4205289"/>
              <a:gd name="connsiteY16" fmla="*/ 3860615 h 4114801"/>
              <a:gd name="connsiteX17" fmla="*/ 52907 w 4205289"/>
              <a:gd name="connsiteY17" fmla="*/ 3809448 h 4114801"/>
              <a:gd name="connsiteX18" fmla="*/ 1738 w 4205289"/>
              <a:gd name="connsiteY18" fmla="*/ 3758281 h 4114801"/>
              <a:gd name="connsiteX19" fmla="*/ 0 w 4205289"/>
              <a:gd name="connsiteY19" fmla="*/ 3758632 h 4114801"/>
              <a:gd name="connsiteX20" fmla="*/ 0 w 4205289"/>
              <a:gd name="connsiteY20" fmla="*/ 3738839 h 4114801"/>
              <a:gd name="connsiteX21" fmla="*/ 1809 w 4205289"/>
              <a:gd name="connsiteY21" fmla="*/ 3739204 h 4114801"/>
              <a:gd name="connsiteX22" fmla="*/ 52978 w 4205289"/>
              <a:gd name="connsiteY22" fmla="*/ 3688035 h 4114801"/>
              <a:gd name="connsiteX23" fmla="*/ 52978 w 4205289"/>
              <a:gd name="connsiteY23" fmla="*/ 3681643 h 4114801"/>
              <a:gd name="connsiteX24" fmla="*/ 104147 w 4205289"/>
              <a:gd name="connsiteY24" fmla="*/ 3630476 h 4114801"/>
              <a:gd name="connsiteX25" fmla="*/ 110537 w 4205289"/>
              <a:gd name="connsiteY25" fmla="*/ 3630476 h 4114801"/>
              <a:gd name="connsiteX26" fmla="*/ 161706 w 4205289"/>
              <a:gd name="connsiteY26" fmla="*/ 3579309 h 4114801"/>
              <a:gd name="connsiteX27" fmla="*/ 110537 w 4205289"/>
              <a:gd name="connsiteY27" fmla="*/ 3528142 h 4114801"/>
              <a:gd name="connsiteX28" fmla="*/ 104147 w 4205289"/>
              <a:gd name="connsiteY28" fmla="*/ 3528142 h 4114801"/>
              <a:gd name="connsiteX29" fmla="*/ 52978 w 4205289"/>
              <a:gd name="connsiteY29" fmla="*/ 3476973 h 4114801"/>
              <a:gd name="connsiteX30" fmla="*/ 52978 w 4205289"/>
              <a:gd name="connsiteY30" fmla="*/ 3470581 h 4114801"/>
              <a:gd name="connsiteX31" fmla="*/ 1809 w 4205289"/>
              <a:gd name="connsiteY31" fmla="*/ 3419416 h 4114801"/>
              <a:gd name="connsiteX32" fmla="*/ 0 w 4205289"/>
              <a:gd name="connsiteY32" fmla="*/ 3419781 h 4114801"/>
              <a:gd name="connsiteX33" fmla="*/ 0 w 4205289"/>
              <a:gd name="connsiteY33" fmla="*/ 3400028 h 4114801"/>
              <a:gd name="connsiteX34" fmla="*/ 1738 w 4205289"/>
              <a:gd name="connsiteY34" fmla="*/ 3400379 h 4114801"/>
              <a:gd name="connsiteX35" fmla="*/ 52907 w 4205289"/>
              <a:gd name="connsiteY35" fmla="*/ 3349212 h 4114801"/>
              <a:gd name="connsiteX36" fmla="*/ 1738 w 4205289"/>
              <a:gd name="connsiteY36" fmla="*/ 3298045 h 4114801"/>
              <a:gd name="connsiteX37" fmla="*/ 0 w 4205289"/>
              <a:gd name="connsiteY37" fmla="*/ 3298396 h 4114801"/>
              <a:gd name="connsiteX38" fmla="*/ 0 w 4205289"/>
              <a:gd name="connsiteY38" fmla="*/ 2468563 h 4114801"/>
              <a:gd name="connsiteX39" fmla="*/ 0 w 4205289"/>
              <a:gd name="connsiteY39" fmla="*/ 411163 h 411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205289" h="4114801">
                <a:moveTo>
                  <a:pt x="232126" y="3528164"/>
                </a:moveTo>
                <a:cubicBezTo>
                  <a:pt x="203868" y="3528164"/>
                  <a:pt x="180959" y="3551073"/>
                  <a:pt x="180959" y="3579331"/>
                </a:cubicBezTo>
                <a:cubicBezTo>
                  <a:pt x="180959" y="3607592"/>
                  <a:pt x="203868" y="3630498"/>
                  <a:pt x="232126" y="3630498"/>
                </a:cubicBezTo>
                <a:cubicBezTo>
                  <a:pt x="260387" y="3630498"/>
                  <a:pt x="283293" y="3607592"/>
                  <a:pt x="283293" y="3579331"/>
                </a:cubicBezTo>
                <a:cubicBezTo>
                  <a:pt x="283293" y="3551073"/>
                  <a:pt x="260387" y="3528164"/>
                  <a:pt x="232126" y="3528164"/>
                </a:cubicBezTo>
                <a:close/>
                <a:moveTo>
                  <a:pt x="0" y="0"/>
                </a:moveTo>
                <a:lnTo>
                  <a:pt x="4204840" y="0"/>
                </a:lnTo>
                <a:lnTo>
                  <a:pt x="4204840" y="1646238"/>
                </a:lnTo>
                <a:lnTo>
                  <a:pt x="4205289" y="1646238"/>
                </a:lnTo>
                <a:lnTo>
                  <a:pt x="4205289" y="4114801"/>
                </a:lnTo>
                <a:lnTo>
                  <a:pt x="3475038" y="4114801"/>
                </a:lnTo>
                <a:lnTo>
                  <a:pt x="2862312" y="4114801"/>
                </a:lnTo>
                <a:lnTo>
                  <a:pt x="0" y="4114801"/>
                </a:lnTo>
                <a:lnTo>
                  <a:pt x="0" y="3910014"/>
                </a:lnTo>
                <a:lnTo>
                  <a:pt x="0" y="3884613"/>
                </a:lnTo>
                <a:lnTo>
                  <a:pt x="0" y="3860264"/>
                </a:lnTo>
                <a:lnTo>
                  <a:pt x="1738" y="3860615"/>
                </a:lnTo>
                <a:cubicBezTo>
                  <a:pt x="30001" y="3860615"/>
                  <a:pt x="52907" y="3837709"/>
                  <a:pt x="52907" y="3809448"/>
                </a:cubicBezTo>
                <a:cubicBezTo>
                  <a:pt x="52907" y="3781190"/>
                  <a:pt x="30001" y="3758281"/>
                  <a:pt x="1738" y="3758281"/>
                </a:cubicBezTo>
                <a:lnTo>
                  <a:pt x="0" y="3758632"/>
                </a:lnTo>
                <a:lnTo>
                  <a:pt x="0" y="3738839"/>
                </a:lnTo>
                <a:lnTo>
                  <a:pt x="1809" y="3739204"/>
                </a:lnTo>
                <a:cubicBezTo>
                  <a:pt x="30072" y="3739204"/>
                  <a:pt x="52978" y="3716298"/>
                  <a:pt x="52978" y="3688035"/>
                </a:cubicBezTo>
                <a:lnTo>
                  <a:pt x="52978" y="3681643"/>
                </a:lnTo>
                <a:cubicBezTo>
                  <a:pt x="52978" y="3653382"/>
                  <a:pt x="75886" y="3630476"/>
                  <a:pt x="104147" y="3630476"/>
                </a:cubicBezTo>
                <a:lnTo>
                  <a:pt x="110537" y="3630476"/>
                </a:lnTo>
                <a:cubicBezTo>
                  <a:pt x="138798" y="3630476"/>
                  <a:pt x="161706" y="3607570"/>
                  <a:pt x="161706" y="3579309"/>
                </a:cubicBezTo>
                <a:cubicBezTo>
                  <a:pt x="161706" y="3551048"/>
                  <a:pt x="138798" y="3528142"/>
                  <a:pt x="110537" y="3528142"/>
                </a:cubicBezTo>
                <a:lnTo>
                  <a:pt x="104147" y="3528142"/>
                </a:lnTo>
                <a:cubicBezTo>
                  <a:pt x="75886" y="3528142"/>
                  <a:pt x="52978" y="3505236"/>
                  <a:pt x="52978" y="3476973"/>
                </a:cubicBezTo>
                <a:lnTo>
                  <a:pt x="52978" y="3470581"/>
                </a:lnTo>
                <a:cubicBezTo>
                  <a:pt x="52978" y="3442325"/>
                  <a:pt x="30072" y="3419416"/>
                  <a:pt x="1809" y="3419416"/>
                </a:cubicBezTo>
                <a:lnTo>
                  <a:pt x="0" y="3419781"/>
                </a:lnTo>
                <a:lnTo>
                  <a:pt x="0" y="3400028"/>
                </a:lnTo>
                <a:lnTo>
                  <a:pt x="1738" y="3400379"/>
                </a:lnTo>
                <a:cubicBezTo>
                  <a:pt x="30001" y="3400379"/>
                  <a:pt x="52907" y="3377473"/>
                  <a:pt x="52907" y="3349212"/>
                </a:cubicBezTo>
                <a:cubicBezTo>
                  <a:pt x="52907" y="3320954"/>
                  <a:pt x="30001" y="3298045"/>
                  <a:pt x="1738" y="3298045"/>
                </a:cubicBezTo>
                <a:lnTo>
                  <a:pt x="0" y="3298396"/>
                </a:lnTo>
                <a:lnTo>
                  <a:pt x="0" y="2468563"/>
                </a:lnTo>
                <a:lnTo>
                  <a:pt x="0" y="411163"/>
                </a:lnTo>
                <a:close/>
              </a:path>
            </a:pathLst>
          </a:custGeom>
          <a:solidFill>
            <a:schemeClr val="bg1">
              <a:lumMod val="85000"/>
            </a:schemeClr>
          </a:solidFill>
        </p:spPr>
        <p:txBody>
          <a:bodyPr wrap="square" lIns="0" rIns="0" anchor="ctr">
            <a:noAutofit/>
          </a:bodyPr>
          <a:lstStyle>
            <a:lvl1pPr marL="0" indent="0" algn="ctr" rtl="0">
              <a:buNone/>
              <a:defRPr/>
            </a:lvl1pPr>
          </a:lstStyle>
          <a:p>
            <a:r>
              <a:rPr lang="de-DE" dirty="0"/>
              <a:t>Bild hinzufügen</a:t>
            </a:r>
          </a:p>
        </p:txBody>
      </p:sp>
    </p:spTree>
    <p:extLst>
      <p:ext uri="{BB962C8B-B14F-4D97-AF65-F5344CB8AC3E}">
        <p14:creationId xmlns:p14="http://schemas.microsoft.com/office/powerpoint/2010/main" val="3756599679"/>
      </p:ext>
    </p:extLst>
  </p:cSld>
  <p:clrMapOvr>
    <a:masterClrMapping/>
  </p:clrMapOvr>
  <p:extLst>
    <p:ext uri="{DCECCB84-F9BA-43D5-87BE-67443E8EF086}">
      <p15:sldGuideLst xmlns:p15="http://schemas.microsoft.com/office/powerpoint/2012/main">
        <p15:guide id="1" pos="461" userDrawn="1">
          <p15:clr>
            <a:srgbClr val="F26B43"/>
          </p15:clr>
        </p15:guide>
        <p15:guide id="2" orient="horz" pos="648">
          <p15:clr>
            <a:srgbClr val="F26B43"/>
          </p15:clr>
        </p15:guide>
        <p15:guide id="3" orient="horz" pos="2981" userDrawn="1">
          <p15:clr>
            <a:srgbClr val="F26B43"/>
          </p15:clr>
        </p15:guide>
        <p15:guide id="4" pos="5300" userDrawn="1">
          <p15:clr>
            <a:srgbClr val="F26B43"/>
          </p15:clr>
        </p15:guide>
        <p15:guide id="5" orient="horz" pos="389">
          <p15:clr>
            <a:srgbClr val="F26B43"/>
          </p15:clr>
        </p15:guide>
        <p15:guide id="6" pos="2880"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mit Text &amp; Bild  / dunkelgrü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B55E966-152B-4155-BC8B-37B3DB47884B}"/>
              </a:ext>
            </a:extLst>
          </p:cNvPr>
          <p:cNvGraphicFramePr>
            <a:graphicFrameLocks noChangeAspect="1"/>
          </p:cNvGraphicFramePr>
          <p:nvPr userDrawn="1">
            <p:custDataLst>
              <p:tags r:id="rId2"/>
            </p:custDataLst>
            <p:extLst>
              <p:ext uri="{D42A27DB-BD31-4B8C-83A1-F6EECF244321}">
                <p14:modId xmlns:p14="http://schemas.microsoft.com/office/powerpoint/2010/main" val="2433020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357"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B55E966-152B-4155-BC8B-37B3DB4788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605D5426-1391-4BA2-884D-0F59552042BD}"/>
              </a:ext>
            </a:extLst>
          </p:cNvPr>
          <p:cNvSpPr/>
          <p:nvPr userDrawn="1"/>
        </p:nvSpPr>
        <p:spPr>
          <a:xfrm>
            <a:off x="0" y="617537"/>
            <a:ext cx="9144000" cy="45259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rtl="0"/>
            <a:endParaRPr lang="de-DE" sz="1400" dirty="0">
              <a:solidFill>
                <a:schemeClr val="bg1"/>
              </a:solidFill>
            </a:endParaRPr>
          </a:p>
        </p:txBody>
      </p:sp>
      <p:sp>
        <p:nvSpPr>
          <p:cNvPr id="2" name="Title 1">
            <a:extLst>
              <a:ext uri="{FF2B5EF4-FFF2-40B4-BE49-F238E27FC236}">
                <a16:creationId xmlns:a16="http://schemas.microsoft.com/office/drawing/2014/main" id="{FA37A3E9-4AC7-40AB-9175-27E504FE91D6}"/>
              </a:ext>
            </a:extLst>
          </p:cNvPr>
          <p:cNvSpPr>
            <a:spLocks noGrp="1"/>
          </p:cNvSpPr>
          <p:nvPr>
            <p:ph type="title" hasCustomPrompt="1"/>
          </p:nvPr>
        </p:nvSpPr>
        <p:spPr/>
        <p:txBody>
          <a:bodyPr vert="horz"/>
          <a:lstStyle>
            <a:lvl1pPr rtl="0">
              <a:defRPr/>
            </a:lvl1pPr>
          </a:lstStyle>
          <a:p>
            <a:r>
              <a:rPr lang="de-DE" noProof="0" dirty="0"/>
              <a:t>Titel </a:t>
            </a:r>
            <a:br>
              <a:rPr lang="de-DE" noProof="0" dirty="0"/>
            </a:br>
            <a:r>
              <a:rPr lang="de-DE" noProof="0" dirty="0"/>
              <a:t>hinzufügen</a:t>
            </a:r>
            <a:endParaRPr lang="de-DE" dirty="0"/>
          </a:p>
        </p:txBody>
      </p:sp>
      <p:sp>
        <p:nvSpPr>
          <p:cNvPr id="6" name="Slide Number Placeholder 5">
            <a:extLst>
              <a:ext uri="{FF2B5EF4-FFF2-40B4-BE49-F238E27FC236}">
                <a16:creationId xmlns:a16="http://schemas.microsoft.com/office/drawing/2014/main" id="{944DA456-96F7-4E88-B5F0-01FD9C0599E9}"/>
              </a:ext>
            </a:extLst>
          </p:cNvPr>
          <p:cNvSpPr>
            <a:spLocks noGrp="1"/>
          </p:cNvSpPr>
          <p:nvPr>
            <p:ph type="sldNum" sz="quarter" idx="12"/>
          </p:nvPr>
        </p:nvSpPr>
        <p:spPr/>
        <p:txBody>
          <a:bodyPr/>
          <a:lstStyle>
            <a:lvl1pPr rtl="0">
              <a:defRPr>
                <a:solidFill>
                  <a:schemeClr val="bg1"/>
                </a:solidFill>
              </a:defRPr>
            </a:lvl1pPr>
          </a:lstStyle>
          <a:p>
            <a:fld id="{61A237A4-5F56-495D-ADE9-563CDE6DCB6B}" type="slidenum">
              <a:rPr lang="de-DE" smtClean="0"/>
              <a:pPr/>
              <a:t>‹Nr.›</a:t>
            </a:fld>
            <a:endParaRPr lang="de-DE" dirty="0"/>
          </a:p>
        </p:txBody>
      </p:sp>
      <p:sp>
        <p:nvSpPr>
          <p:cNvPr id="10" name="Text Placeholder 9">
            <a:extLst>
              <a:ext uri="{FF2B5EF4-FFF2-40B4-BE49-F238E27FC236}">
                <a16:creationId xmlns:a16="http://schemas.microsoft.com/office/drawing/2014/main" id="{56B40821-1E4B-4B1A-A4EC-67ED383914AF}"/>
              </a:ext>
            </a:extLst>
          </p:cNvPr>
          <p:cNvSpPr>
            <a:spLocks noGrp="1"/>
          </p:cNvSpPr>
          <p:nvPr>
            <p:ph type="body" sz="quarter" idx="13" hasCustomPrompt="1"/>
          </p:nvPr>
        </p:nvSpPr>
        <p:spPr>
          <a:xfrm>
            <a:off x="366713" y="1028700"/>
            <a:ext cx="3657600" cy="3703637"/>
          </a:xfrm>
        </p:spPr>
        <p:txBody>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de-DE" noProof="0" dirty="0"/>
              <a:t>Erste Ebene</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1" name="Text Placeholder 9">
            <a:extLst>
              <a:ext uri="{FF2B5EF4-FFF2-40B4-BE49-F238E27FC236}">
                <a16:creationId xmlns:a16="http://schemas.microsoft.com/office/drawing/2014/main" id="{B4B60243-B22D-4DE0-8846-1532F903A022}"/>
              </a:ext>
            </a:extLst>
          </p:cNvPr>
          <p:cNvSpPr>
            <a:spLocks noGrp="1"/>
          </p:cNvSpPr>
          <p:nvPr>
            <p:ph type="body" sz="quarter" idx="14" hasCustomPrompt="1"/>
          </p:nvPr>
        </p:nvSpPr>
        <p:spPr>
          <a:xfrm>
            <a:off x="1098550" y="4938713"/>
            <a:ext cx="7678290" cy="204787"/>
          </a:xfrm>
        </p:spPr>
        <p:txBody>
          <a:bodyPr anchor="ctr">
            <a:noAutofit/>
          </a:bodyPr>
          <a:lstStyle>
            <a:lvl1pPr marL="0" indent="0" rtl="0">
              <a:spcAft>
                <a:spcPts val="0"/>
              </a:spcAft>
              <a:buNone/>
              <a:defRPr sz="600">
                <a:solidFill>
                  <a:schemeClr val="bg1"/>
                </a:solidFill>
              </a:defRPr>
            </a:lvl1pPr>
            <a:lvl2pPr marL="0" indent="0">
              <a:spcAft>
                <a:spcPts val="0"/>
              </a:spcAft>
              <a:buFont typeface="Arial" panose="020B0604020202020204" pitchFamily="34" charset="0"/>
              <a:buNone/>
              <a:defRPr sz="600"/>
            </a:lvl2pPr>
            <a:lvl3pPr marL="0" indent="0">
              <a:spcAft>
                <a:spcPts val="0"/>
              </a:spcAft>
              <a:buFont typeface="Arial" panose="020B0604020202020204" pitchFamily="34" charset="0"/>
              <a:buNone/>
              <a:defRPr sz="600"/>
            </a:lvl3pPr>
          </a:lstStyle>
          <a:p>
            <a:pPr lvl="0"/>
            <a:r>
              <a:rPr lang="de-DE" noProof="0" dirty="0"/>
              <a:t>Quelle: </a:t>
            </a:r>
          </a:p>
        </p:txBody>
      </p:sp>
      <p:sp>
        <p:nvSpPr>
          <p:cNvPr id="36" name="Freeform: Shape 35">
            <a:extLst>
              <a:ext uri="{FF2B5EF4-FFF2-40B4-BE49-F238E27FC236}">
                <a16:creationId xmlns:a16="http://schemas.microsoft.com/office/drawing/2014/main" id="{10FED169-D09C-49C6-98BE-A236DFC40622}"/>
              </a:ext>
            </a:extLst>
          </p:cNvPr>
          <p:cNvSpPr/>
          <p:nvPr/>
        </p:nvSpPr>
        <p:spPr>
          <a:xfrm flipV="1">
            <a:off x="4292182" y="3915582"/>
            <a:ext cx="563111" cy="562570"/>
          </a:xfrm>
          <a:custGeom>
            <a:avLst/>
            <a:gdLst>
              <a:gd name="connsiteX0" fmla="*/ 281556 w 563111"/>
              <a:gd name="connsiteY0" fmla="*/ 102334 h 562570"/>
              <a:gd name="connsiteX1" fmla="*/ 332725 w 563111"/>
              <a:gd name="connsiteY1" fmla="*/ 51167 h 562570"/>
              <a:gd name="connsiteX2" fmla="*/ 281556 w 563111"/>
              <a:gd name="connsiteY2" fmla="*/ 0 h 562570"/>
              <a:gd name="connsiteX3" fmla="*/ 230389 w 563111"/>
              <a:gd name="connsiteY3" fmla="*/ 51167 h 562570"/>
              <a:gd name="connsiteX4" fmla="*/ 281556 w 563111"/>
              <a:gd name="connsiteY4" fmla="*/ 102334 h 562570"/>
              <a:gd name="connsiteX5" fmla="*/ 511944 w 563111"/>
              <a:gd name="connsiteY5" fmla="*/ 332451 h 562570"/>
              <a:gd name="connsiteX6" fmla="*/ 563111 w 563111"/>
              <a:gd name="connsiteY6" fmla="*/ 281284 h 562570"/>
              <a:gd name="connsiteX7" fmla="*/ 511944 w 563111"/>
              <a:gd name="connsiteY7" fmla="*/ 230117 h 562570"/>
              <a:gd name="connsiteX8" fmla="*/ 460777 w 563111"/>
              <a:gd name="connsiteY8" fmla="*/ 281284 h 562570"/>
              <a:gd name="connsiteX9" fmla="*/ 511944 w 563111"/>
              <a:gd name="connsiteY9" fmla="*/ 332451 h 562570"/>
              <a:gd name="connsiteX10" fmla="*/ 51167 w 563111"/>
              <a:gd name="connsiteY10" fmla="*/ 332451 h 562570"/>
              <a:gd name="connsiteX11" fmla="*/ 102334 w 563111"/>
              <a:gd name="connsiteY11" fmla="*/ 281284 h 562570"/>
              <a:gd name="connsiteX12" fmla="*/ 51167 w 563111"/>
              <a:gd name="connsiteY12" fmla="*/ 230117 h 562570"/>
              <a:gd name="connsiteX13" fmla="*/ 0 w 563111"/>
              <a:gd name="connsiteY13" fmla="*/ 281284 h 562570"/>
              <a:gd name="connsiteX14" fmla="*/ 51167 w 563111"/>
              <a:gd name="connsiteY14" fmla="*/ 332451 h 562570"/>
              <a:gd name="connsiteX15" fmla="*/ 281627 w 563111"/>
              <a:gd name="connsiteY15" fmla="*/ 441199 h 562570"/>
              <a:gd name="connsiteX16" fmla="*/ 332796 w 563111"/>
              <a:gd name="connsiteY16" fmla="*/ 390034 h 562570"/>
              <a:gd name="connsiteX17" fmla="*/ 332796 w 563111"/>
              <a:gd name="connsiteY17" fmla="*/ 383642 h 562570"/>
              <a:gd name="connsiteX18" fmla="*/ 383965 w 563111"/>
              <a:gd name="connsiteY18" fmla="*/ 332473 h 562570"/>
              <a:gd name="connsiteX19" fmla="*/ 390355 w 563111"/>
              <a:gd name="connsiteY19" fmla="*/ 332473 h 562570"/>
              <a:gd name="connsiteX20" fmla="*/ 441524 w 563111"/>
              <a:gd name="connsiteY20" fmla="*/ 281306 h 562570"/>
              <a:gd name="connsiteX21" fmla="*/ 390355 w 563111"/>
              <a:gd name="connsiteY21" fmla="*/ 230139 h 562570"/>
              <a:gd name="connsiteX22" fmla="*/ 383965 w 563111"/>
              <a:gd name="connsiteY22" fmla="*/ 230139 h 562570"/>
              <a:gd name="connsiteX23" fmla="*/ 332796 w 563111"/>
              <a:gd name="connsiteY23" fmla="*/ 178972 h 562570"/>
              <a:gd name="connsiteX24" fmla="*/ 332796 w 563111"/>
              <a:gd name="connsiteY24" fmla="*/ 172580 h 562570"/>
              <a:gd name="connsiteX25" fmla="*/ 281627 w 563111"/>
              <a:gd name="connsiteY25" fmla="*/ 121411 h 562570"/>
              <a:gd name="connsiteX26" fmla="*/ 230460 w 563111"/>
              <a:gd name="connsiteY26" fmla="*/ 172580 h 562570"/>
              <a:gd name="connsiteX27" fmla="*/ 230460 w 563111"/>
              <a:gd name="connsiteY27" fmla="*/ 178972 h 562570"/>
              <a:gd name="connsiteX28" fmla="*/ 179293 w 563111"/>
              <a:gd name="connsiteY28" fmla="*/ 230139 h 562570"/>
              <a:gd name="connsiteX29" fmla="*/ 172896 w 563111"/>
              <a:gd name="connsiteY29" fmla="*/ 230139 h 562570"/>
              <a:gd name="connsiteX30" fmla="*/ 121729 w 563111"/>
              <a:gd name="connsiteY30" fmla="*/ 281306 h 562570"/>
              <a:gd name="connsiteX31" fmla="*/ 172896 w 563111"/>
              <a:gd name="connsiteY31" fmla="*/ 332473 h 562570"/>
              <a:gd name="connsiteX32" fmla="*/ 179293 w 563111"/>
              <a:gd name="connsiteY32" fmla="*/ 332475 h 562570"/>
              <a:gd name="connsiteX33" fmla="*/ 230460 w 563111"/>
              <a:gd name="connsiteY33" fmla="*/ 383642 h 562570"/>
              <a:gd name="connsiteX34" fmla="*/ 230460 w 563111"/>
              <a:gd name="connsiteY34" fmla="*/ 390034 h 562570"/>
              <a:gd name="connsiteX35" fmla="*/ 281627 w 563111"/>
              <a:gd name="connsiteY35" fmla="*/ 441199 h 562570"/>
              <a:gd name="connsiteX36" fmla="*/ 281556 w 563111"/>
              <a:gd name="connsiteY36" fmla="*/ 562570 h 562570"/>
              <a:gd name="connsiteX37" fmla="*/ 332725 w 563111"/>
              <a:gd name="connsiteY37" fmla="*/ 511403 h 562570"/>
              <a:gd name="connsiteX38" fmla="*/ 281556 w 563111"/>
              <a:gd name="connsiteY38" fmla="*/ 460236 h 562570"/>
              <a:gd name="connsiteX39" fmla="*/ 230389 w 563111"/>
              <a:gd name="connsiteY39" fmla="*/ 511403 h 562570"/>
              <a:gd name="connsiteX40" fmla="*/ 281556 w 563111"/>
              <a:gd name="connsiteY40" fmla="*/ 562570 h 5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63111" h="562570">
                <a:moveTo>
                  <a:pt x="281556" y="102334"/>
                </a:moveTo>
                <a:cubicBezTo>
                  <a:pt x="309819" y="102334"/>
                  <a:pt x="332725" y="79425"/>
                  <a:pt x="332725" y="51167"/>
                </a:cubicBezTo>
                <a:cubicBezTo>
                  <a:pt x="332725" y="22906"/>
                  <a:pt x="309819" y="0"/>
                  <a:pt x="281556" y="0"/>
                </a:cubicBezTo>
                <a:cubicBezTo>
                  <a:pt x="253298" y="0"/>
                  <a:pt x="230389" y="22906"/>
                  <a:pt x="230389" y="51167"/>
                </a:cubicBezTo>
                <a:cubicBezTo>
                  <a:pt x="230389" y="79425"/>
                  <a:pt x="253298" y="102334"/>
                  <a:pt x="281556" y="102334"/>
                </a:cubicBezTo>
                <a:close/>
                <a:moveTo>
                  <a:pt x="511944" y="332451"/>
                </a:moveTo>
                <a:cubicBezTo>
                  <a:pt x="540205" y="332451"/>
                  <a:pt x="563111" y="309542"/>
                  <a:pt x="563111" y="281284"/>
                </a:cubicBezTo>
                <a:cubicBezTo>
                  <a:pt x="563111" y="253023"/>
                  <a:pt x="540205" y="230117"/>
                  <a:pt x="511944" y="230117"/>
                </a:cubicBezTo>
                <a:cubicBezTo>
                  <a:pt x="483686" y="230117"/>
                  <a:pt x="460777" y="253023"/>
                  <a:pt x="460777" y="281284"/>
                </a:cubicBezTo>
                <a:cubicBezTo>
                  <a:pt x="460777" y="309542"/>
                  <a:pt x="483686" y="332451"/>
                  <a:pt x="511944" y="332451"/>
                </a:cubicBezTo>
                <a:close/>
                <a:moveTo>
                  <a:pt x="51167" y="332451"/>
                </a:moveTo>
                <a:cubicBezTo>
                  <a:pt x="79428" y="332451"/>
                  <a:pt x="102334" y="309542"/>
                  <a:pt x="102334" y="281284"/>
                </a:cubicBezTo>
                <a:cubicBezTo>
                  <a:pt x="102334" y="253023"/>
                  <a:pt x="79428" y="230117"/>
                  <a:pt x="51167" y="230117"/>
                </a:cubicBezTo>
                <a:cubicBezTo>
                  <a:pt x="22909" y="230117"/>
                  <a:pt x="0" y="253023"/>
                  <a:pt x="0" y="281284"/>
                </a:cubicBezTo>
                <a:cubicBezTo>
                  <a:pt x="0" y="309542"/>
                  <a:pt x="22909" y="332451"/>
                  <a:pt x="51167" y="332451"/>
                </a:cubicBezTo>
                <a:close/>
                <a:moveTo>
                  <a:pt x="281627" y="441199"/>
                </a:moveTo>
                <a:cubicBezTo>
                  <a:pt x="309890" y="441199"/>
                  <a:pt x="332796" y="418290"/>
                  <a:pt x="332796" y="390034"/>
                </a:cubicBezTo>
                <a:lnTo>
                  <a:pt x="332796" y="383642"/>
                </a:lnTo>
                <a:cubicBezTo>
                  <a:pt x="332796" y="355379"/>
                  <a:pt x="355704" y="332473"/>
                  <a:pt x="383965" y="332473"/>
                </a:cubicBezTo>
                <a:lnTo>
                  <a:pt x="390355" y="332473"/>
                </a:lnTo>
                <a:cubicBezTo>
                  <a:pt x="418616" y="332473"/>
                  <a:pt x="441524" y="309567"/>
                  <a:pt x="441524" y="281306"/>
                </a:cubicBezTo>
                <a:cubicBezTo>
                  <a:pt x="441524" y="253045"/>
                  <a:pt x="418616" y="230139"/>
                  <a:pt x="390355" y="230139"/>
                </a:cubicBezTo>
                <a:lnTo>
                  <a:pt x="383965" y="230139"/>
                </a:lnTo>
                <a:cubicBezTo>
                  <a:pt x="355704" y="230139"/>
                  <a:pt x="332796" y="207233"/>
                  <a:pt x="332796" y="178972"/>
                </a:cubicBezTo>
                <a:lnTo>
                  <a:pt x="332796" y="172580"/>
                </a:lnTo>
                <a:cubicBezTo>
                  <a:pt x="332796" y="144317"/>
                  <a:pt x="309890" y="121411"/>
                  <a:pt x="281627" y="121411"/>
                </a:cubicBezTo>
                <a:cubicBezTo>
                  <a:pt x="253371" y="121411"/>
                  <a:pt x="230460" y="144317"/>
                  <a:pt x="230460" y="172580"/>
                </a:cubicBezTo>
                <a:lnTo>
                  <a:pt x="230460" y="178972"/>
                </a:lnTo>
                <a:cubicBezTo>
                  <a:pt x="230460" y="207233"/>
                  <a:pt x="207553" y="230139"/>
                  <a:pt x="179293" y="230139"/>
                </a:cubicBezTo>
                <a:lnTo>
                  <a:pt x="172896" y="230139"/>
                </a:lnTo>
                <a:cubicBezTo>
                  <a:pt x="144638" y="230139"/>
                  <a:pt x="121729" y="253045"/>
                  <a:pt x="121729" y="281306"/>
                </a:cubicBezTo>
                <a:cubicBezTo>
                  <a:pt x="121729" y="309567"/>
                  <a:pt x="144638" y="332473"/>
                  <a:pt x="172896" y="332473"/>
                </a:cubicBezTo>
                <a:lnTo>
                  <a:pt x="179293" y="332475"/>
                </a:lnTo>
                <a:cubicBezTo>
                  <a:pt x="207553" y="332475"/>
                  <a:pt x="230460" y="355379"/>
                  <a:pt x="230460" y="383642"/>
                </a:cubicBezTo>
                <a:lnTo>
                  <a:pt x="230460" y="390034"/>
                </a:lnTo>
                <a:cubicBezTo>
                  <a:pt x="230460" y="418290"/>
                  <a:pt x="253371" y="441199"/>
                  <a:pt x="281627" y="441199"/>
                </a:cubicBezTo>
                <a:close/>
                <a:moveTo>
                  <a:pt x="281556" y="562570"/>
                </a:moveTo>
                <a:cubicBezTo>
                  <a:pt x="309819" y="562570"/>
                  <a:pt x="332725" y="539661"/>
                  <a:pt x="332725" y="511403"/>
                </a:cubicBezTo>
                <a:cubicBezTo>
                  <a:pt x="332725" y="483142"/>
                  <a:pt x="309819" y="460236"/>
                  <a:pt x="281556" y="460236"/>
                </a:cubicBezTo>
                <a:cubicBezTo>
                  <a:pt x="253298" y="460236"/>
                  <a:pt x="230389" y="483142"/>
                  <a:pt x="230389" y="511403"/>
                </a:cubicBezTo>
                <a:cubicBezTo>
                  <a:pt x="230389" y="539661"/>
                  <a:pt x="253298" y="562570"/>
                  <a:pt x="281556" y="562570"/>
                </a:cubicBezTo>
                <a:close/>
              </a:path>
            </a:pathLst>
          </a:custGeom>
          <a:solidFill>
            <a:schemeClr val="accent6"/>
          </a:solidFill>
          <a:ln w="2251" cap="flat">
            <a:noFill/>
            <a:prstDash val="solid"/>
            <a:miter/>
          </a:ln>
        </p:spPr>
        <p:txBody>
          <a:bodyPr rtlCol="0" anchor="ctr"/>
          <a:lstStyle/>
          <a:p>
            <a:pPr rtl="0"/>
            <a:endParaRPr lang="de-DE" dirty="0"/>
          </a:p>
        </p:txBody>
      </p:sp>
      <p:grpSp>
        <p:nvGrpSpPr>
          <p:cNvPr id="24" name="Group 23">
            <a:extLst>
              <a:ext uri="{FF2B5EF4-FFF2-40B4-BE49-F238E27FC236}">
                <a16:creationId xmlns:a16="http://schemas.microsoft.com/office/drawing/2014/main" id="{E1B0F0E7-B8A8-4964-92BB-7D13E29BEA36}"/>
              </a:ext>
            </a:extLst>
          </p:cNvPr>
          <p:cNvGrpSpPr/>
          <p:nvPr userDrawn="1"/>
        </p:nvGrpSpPr>
        <p:grpSpPr>
          <a:xfrm>
            <a:off x="9507912" y="0"/>
            <a:ext cx="1826837" cy="5143500"/>
            <a:chOff x="12455525" y="0"/>
            <a:chExt cx="2432456" cy="6858000"/>
          </a:xfrm>
        </p:grpSpPr>
        <p:sp>
          <p:nvSpPr>
            <p:cNvPr id="25" name="Rectangle 24">
              <a:extLst>
                <a:ext uri="{FF2B5EF4-FFF2-40B4-BE49-F238E27FC236}">
                  <a16:creationId xmlns:a16="http://schemas.microsoft.com/office/drawing/2014/main" id="{BFB431E8-42E9-4395-A5AE-691C8FC98770}"/>
                </a:ext>
              </a:extLst>
            </p:cNvPr>
            <p:cNvSpPr/>
            <p:nvPr/>
          </p:nvSpPr>
          <p:spPr>
            <a:xfrm>
              <a:off x="12455525" y="0"/>
              <a:ext cx="2432456"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de-DE" sz="1100" b="1" noProof="0" dirty="0">
                  <a:solidFill>
                    <a:schemeClr val="tx1"/>
                  </a:solidFill>
                  <a:latin typeface="+mn-lt"/>
                </a:rPr>
                <a:t>Hinweis zum </a:t>
              </a:r>
              <a:br>
                <a:rPr lang="de-DE" sz="1100" b="1" noProof="0" dirty="0">
                  <a:solidFill>
                    <a:schemeClr val="tx1"/>
                  </a:solidFill>
                  <a:latin typeface="+mn-lt"/>
                </a:rPr>
              </a:br>
              <a:r>
                <a:rPr lang="de-DE" sz="1100" b="1" noProof="0" dirty="0">
                  <a:solidFill>
                    <a:schemeClr val="tx1"/>
                  </a:solidFill>
                  <a:latin typeface="+mn-lt"/>
                </a:rPr>
                <a:t>schnellen Formatieren von Texten: </a:t>
              </a: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br>
                <a:rPr lang="de-DE" sz="1100" b="1" noProof="0" dirty="0">
                  <a:solidFill>
                    <a:schemeClr val="tx1"/>
                  </a:solidFill>
                  <a:latin typeface="+mn-lt"/>
                </a:rPr>
              </a:br>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r>
                <a:rPr lang="de-DE" sz="1100" b="1" noProof="0" dirty="0">
                  <a:solidFill>
                    <a:schemeClr val="tx1"/>
                  </a:solidFill>
                  <a:latin typeface="+mn-lt"/>
                </a:rPr>
                <a:t>Absatz-Zeichen</a:t>
              </a:r>
              <a:r>
                <a:rPr lang="de-DE" sz="1100" b="0" noProof="0" dirty="0">
                  <a:solidFill>
                    <a:schemeClr val="tx1"/>
                  </a:solidFill>
                  <a:latin typeface="+mn-lt"/>
                </a:rPr>
                <a:t> nutzen, um zwischen diesen vorprogrammierten Textebenen zu wechseln: </a:t>
              </a:r>
            </a:p>
          </p:txBody>
        </p:sp>
        <p:sp>
          <p:nvSpPr>
            <p:cNvPr id="26" name="Textplatzhalter 45">
              <a:extLst>
                <a:ext uri="{FF2B5EF4-FFF2-40B4-BE49-F238E27FC236}">
                  <a16:creationId xmlns:a16="http://schemas.microsoft.com/office/drawing/2014/main" id="{FAEABF41-4459-4762-A67C-2115C2E9F755}"/>
                </a:ext>
              </a:extLst>
            </p:cNvPr>
            <p:cNvSpPr txBox="1">
              <a:spLocks/>
            </p:cNvSpPr>
            <p:nvPr/>
          </p:nvSpPr>
          <p:spPr>
            <a:xfrm>
              <a:off x="12623256" y="3829049"/>
              <a:ext cx="2097629" cy="2755900"/>
            </a:xfrm>
            <a:prstGeom prst="rect">
              <a:avLst/>
            </a:prstGeom>
            <a:solidFill>
              <a:schemeClr val="accent5"/>
            </a:solidFill>
          </p:spPr>
          <p:txBody>
            <a:bodyPr vert="horz" wrap="none"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25425" lvl="0" indent="-225425" algn="l" defTabSz="914400" rtl="0" eaLnBrk="1" latinLnBrk="0" hangingPunct="1">
                <a:lnSpc>
                  <a:spcPct val="100000"/>
                </a:lnSpc>
                <a:spcBef>
                  <a:spcPts val="0"/>
                </a:spcBef>
                <a:spcAft>
                  <a:spcPts val="800"/>
                </a:spcAft>
                <a:buClr>
                  <a:schemeClr val="bg1"/>
                </a:buClr>
                <a:buSzPct val="110000"/>
                <a:buFont typeface="Arial" panose="020B0604020202020204" pitchFamily="34" charset="0"/>
                <a:buChar char="•"/>
              </a:pPr>
              <a:r>
                <a:rPr lang="de-DE" sz="1400" kern="1200" noProof="0" dirty="0">
                  <a:solidFill>
                    <a:schemeClr val="bg1"/>
                  </a:solidFill>
                  <a:latin typeface="+mn-lt"/>
                  <a:ea typeface="+mn-ea"/>
                  <a:cs typeface="+mn-cs"/>
                </a:rPr>
                <a:t>Erste Ebene</a:t>
              </a:r>
            </a:p>
            <a:p>
              <a:pPr marL="457200" lvl="1" indent="-225425" algn="l" defTabSz="914400" rtl="0" eaLnBrk="1" latinLnBrk="0" hangingPunct="1">
                <a:lnSpc>
                  <a:spcPct val="100000"/>
                </a:lnSpc>
                <a:spcBef>
                  <a:spcPts val="0"/>
                </a:spcBef>
                <a:spcAft>
                  <a:spcPts val="800"/>
                </a:spcAft>
                <a:buClr>
                  <a:schemeClr val="bg1"/>
                </a:buClr>
                <a:buSzPct val="110000"/>
                <a:buFont typeface="+mj-lt"/>
                <a:buAutoNum type="arabicPeriod"/>
              </a:pPr>
              <a:r>
                <a:rPr lang="de-DE" sz="1400" kern="1200" noProof="0" dirty="0">
                  <a:solidFill>
                    <a:schemeClr val="bg1"/>
                  </a:solidFill>
                  <a:latin typeface="+mn-lt"/>
                  <a:ea typeface="+mn-ea"/>
                  <a:cs typeface="+mn-cs"/>
                </a:rPr>
                <a:t>Zweite Ebene</a:t>
              </a:r>
            </a:p>
            <a:p>
              <a:pPr marL="685800" lvl="2" indent="-225425" algn="l" defTabSz="914400" rtl="0" eaLnBrk="1" latinLnBrk="0" hangingPunct="1">
                <a:lnSpc>
                  <a:spcPct val="100000"/>
                </a:lnSpc>
                <a:spcBef>
                  <a:spcPts val="0"/>
                </a:spcBef>
                <a:spcAft>
                  <a:spcPts val="800"/>
                </a:spcAft>
                <a:buClr>
                  <a:schemeClr val="bg1"/>
                </a:buClr>
                <a:buSzPct val="110000"/>
                <a:buFont typeface="+mj-lt"/>
                <a:buAutoNum type="alphaLcPeriod"/>
              </a:pPr>
              <a:r>
                <a:rPr lang="de-DE" sz="1400" b="0" kern="1200" noProof="0" dirty="0">
                  <a:solidFill>
                    <a:schemeClr val="bg1"/>
                  </a:solidFill>
                  <a:latin typeface="+mn-lt"/>
                  <a:ea typeface="+mn-ea"/>
                  <a:cs typeface="+mn-cs"/>
                </a:rPr>
                <a:t>Dritte Ebene</a:t>
              </a:r>
            </a:p>
            <a:p>
              <a:pPr marL="0" lvl="3"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kern="1200" noProof="0" dirty="0">
                  <a:solidFill>
                    <a:schemeClr val="bg1"/>
                  </a:solidFill>
                  <a:latin typeface="+mn-lt"/>
                  <a:ea typeface="+mn-ea"/>
                  <a:cs typeface="+mn-cs"/>
                </a:rPr>
                <a:t>Vierte Ebene</a:t>
              </a:r>
            </a:p>
            <a:p>
              <a:pPr marL="0" lvl="4"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b="1" kern="1200" noProof="0" dirty="0">
                  <a:solidFill>
                    <a:schemeClr val="bg1"/>
                  </a:solidFill>
                  <a:latin typeface="+mn-lt"/>
                  <a:ea typeface="+mn-ea"/>
                  <a:cs typeface="+mn-cs"/>
                </a:rPr>
                <a:t>Fünfte Ebene</a:t>
              </a:r>
            </a:p>
          </p:txBody>
        </p:sp>
        <p:grpSp>
          <p:nvGrpSpPr>
            <p:cNvPr id="27" name="Group 26">
              <a:extLst>
                <a:ext uri="{FF2B5EF4-FFF2-40B4-BE49-F238E27FC236}">
                  <a16:creationId xmlns:a16="http://schemas.microsoft.com/office/drawing/2014/main" id="{087C7608-6A67-458A-842E-B25B40AC0E1F}"/>
                </a:ext>
              </a:extLst>
            </p:cNvPr>
            <p:cNvGrpSpPr/>
            <p:nvPr/>
          </p:nvGrpSpPr>
          <p:grpSpPr>
            <a:xfrm>
              <a:off x="12656430" y="1089171"/>
              <a:ext cx="1584137" cy="987131"/>
              <a:chOff x="3838574" y="-1487553"/>
              <a:chExt cx="1819275" cy="1133654"/>
            </a:xfrm>
          </p:grpSpPr>
          <p:pic>
            <p:nvPicPr>
              <p:cNvPr id="34" name="Picture 33">
                <a:extLst>
                  <a:ext uri="{FF2B5EF4-FFF2-40B4-BE49-F238E27FC236}">
                    <a16:creationId xmlns:a16="http://schemas.microsoft.com/office/drawing/2014/main" id="{3F2ABF89-CBB3-4AD7-A32E-A2CFA59BB23A}"/>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838574" y="-1487553"/>
                <a:ext cx="1819275" cy="1133654"/>
              </a:xfrm>
              <a:prstGeom prst="rect">
                <a:avLst/>
              </a:prstGeom>
              <a:ln>
                <a:solidFill>
                  <a:schemeClr val="tx1"/>
                </a:solidFill>
              </a:ln>
            </p:spPr>
          </p:pic>
          <p:pic>
            <p:nvPicPr>
              <p:cNvPr id="35" name="Picture 34">
                <a:extLst>
                  <a:ext uri="{FF2B5EF4-FFF2-40B4-BE49-F238E27FC236}">
                    <a16:creationId xmlns:a16="http://schemas.microsoft.com/office/drawing/2014/main" id="{9F6C599F-024F-4C87-B151-F5F17AA18AC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838574" y="-1197759"/>
                <a:ext cx="1758949" cy="843860"/>
              </a:xfrm>
              <a:prstGeom prst="rect">
                <a:avLst/>
              </a:prstGeom>
            </p:spPr>
          </p:pic>
          <p:sp>
            <p:nvSpPr>
              <p:cNvPr id="37" name="Rectangle 36">
                <a:extLst>
                  <a:ext uri="{FF2B5EF4-FFF2-40B4-BE49-F238E27FC236}">
                    <a16:creationId xmlns:a16="http://schemas.microsoft.com/office/drawing/2014/main" id="{3E9404F4-FA66-457A-8AE8-C5CC45E99156}"/>
                  </a:ext>
                </a:extLst>
              </p:cNvPr>
              <p:cNvSpPr/>
              <p:nvPr userDrawn="1"/>
            </p:nvSpPr>
            <p:spPr>
              <a:xfrm>
                <a:off x="5517931" y="-1487553"/>
                <a:ext cx="139917" cy="983056"/>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grpSp>
        <p:sp>
          <p:nvSpPr>
            <p:cNvPr id="28" name="Oval 27">
              <a:extLst>
                <a:ext uri="{FF2B5EF4-FFF2-40B4-BE49-F238E27FC236}">
                  <a16:creationId xmlns:a16="http://schemas.microsoft.com/office/drawing/2014/main" id="{B2A224A7-68E5-44D8-925A-6E193ED7F677}"/>
                </a:ext>
              </a:extLst>
            </p:cNvPr>
            <p:cNvSpPr/>
            <p:nvPr/>
          </p:nvSpPr>
          <p:spPr>
            <a:xfrm>
              <a:off x="13370810" y="1243451"/>
              <a:ext cx="407914" cy="407914"/>
            </a:xfrm>
            <a:prstGeom prst="ellipse">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sp>
          <p:nvSpPr>
            <p:cNvPr id="29" name="Arc 28">
              <a:extLst>
                <a:ext uri="{FF2B5EF4-FFF2-40B4-BE49-F238E27FC236}">
                  <a16:creationId xmlns:a16="http://schemas.microsoft.com/office/drawing/2014/main" id="{7DBCFDD7-8240-40CF-81AE-4308076880EF}"/>
                </a:ext>
              </a:extLst>
            </p:cNvPr>
            <p:cNvSpPr/>
            <p:nvPr/>
          </p:nvSpPr>
          <p:spPr>
            <a:xfrm rot="15649404">
              <a:off x="12562252" y="1598191"/>
              <a:ext cx="2019300" cy="1666765"/>
            </a:xfrm>
            <a:prstGeom prst="arc">
              <a:avLst>
                <a:gd name="adj1" fmla="val 16676483"/>
                <a:gd name="adj2" fmla="val 0"/>
              </a:avLst>
            </a:prstGeom>
            <a:ln w="28575">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100" noProof="0" dirty="0">
                <a:latin typeface="+mn-lt"/>
              </a:endParaRPr>
            </a:p>
          </p:txBody>
        </p:sp>
        <p:sp>
          <p:nvSpPr>
            <p:cNvPr id="30" name="TextBox 29">
              <a:extLst>
                <a:ext uri="{FF2B5EF4-FFF2-40B4-BE49-F238E27FC236}">
                  <a16:creationId xmlns:a16="http://schemas.microsoft.com/office/drawing/2014/main" id="{F4295A03-D808-4E24-95A7-630C8A73A856}"/>
                </a:ext>
              </a:extLst>
            </p:cNvPr>
            <p:cNvSpPr txBox="1"/>
            <p:nvPr/>
          </p:nvSpPr>
          <p:spPr>
            <a:xfrm>
              <a:off x="12666422"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Start</a:t>
              </a:r>
            </a:p>
          </p:txBody>
        </p:sp>
        <p:sp>
          <p:nvSpPr>
            <p:cNvPr id="31" name="TextBox 30">
              <a:extLst>
                <a:ext uri="{FF2B5EF4-FFF2-40B4-BE49-F238E27FC236}">
                  <a16:creationId xmlns:a16="http://schemas.microsoft.com/office/drawing/2014/main" id="{4A3FC800-3976-47F6-91E3-C493FCB061A6}"/>
                </a:ext>
              </a:extLst>
            </p:cNvPr>
            <p:cNvSpPr txBox="1"/>
            <p:nvPr/>
          </p:nvSpPr>
          <p:spPr>
            <a:xfrm>
              <a:off x="13167679"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infügen</a:t>
              </a:r>
            </a:p>
          </p:txBody>
        </p:sp>
        <p:sp>
          <p:nvSpPr>
            <p:cNvPr id="32" name="TextBox 31">
              <a:extLst>
                <a:ext uri="{FF2B5EF4-FFF2-40B4-BE49-F238E27FC236}">
                  <a16:creationId xmlns:a16="http://schemas.microsoft.com/office/drawing/2014/main" id="{034A5756-2563-488D-ABD6-F24566ACF23A}"/>
                </a:ext>
              </a:extLst>
            </p:cNvPr>
            <p:cNvSpPr txBox="1"/>
            <p:nvPr/>
          </p:nvSpPr>
          <p:spPr>
            <a:xfrm>
              <a:off x="13706533"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ntwurf</a:t>
              </a:r>
            </a:p>
          </p:txBody>
        </p:sp>
        <p:sp>
          <p:nvSpPr>
            <p:cNvPr id="33" name="TextBox 32">
              <a:extLst>
                <a:ext uri="{FF2B5EF4-FFF2-40B4-BE49-F238E27FC236}">
                  <a16:creationId xmlns:a16="http://schemas.microsoft.com/office/drawing/2014/main" id="{7E155083-5BC4-4BAA-AD11-CF0BDD021967}"/>
                </a:ext>
              </a:extLst>
            </p:cNvPr>
            <p:cNvSpPr txBox="1"/>
            <p:nvPr/>
          </p:nvSpPr>
          <p:spPr>
            <a:xfrm>
              <a:off x="13662625" y="1929226"/>
              <a:ext cx="546374" cy="136662"/>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Absatz</a:t>
              </a:r>
            </a:p>
          </p:txBody>
        </p:sp>
      </p:grpSp>
      <p:sp>
        <p:nvSpPr>
          <p:cNvPr id="43" name="Picture Placeholder 42">
            <a:extLst>
              <a:ext uri="{FF2B5EF4-FFF2-40B4-BE49-F238E27FC236}">
                <a16:creationId xmlns:a16="http://schemas.microsoft.com/office/drawing/2014/main" id="{D1EC98A0-4D58-4225-9C51-9D6576E0F292}"/>
              </a:ext>
            </a:extLst>
          </p:cNvPr>
          <p:cNvSpPr>
            <a:spLocks noGrp="1"/>
          </p:cNvSpPr>
          <p:nvPr>
            <p:ph type="pic" sz="quarter" idx="18" hasCustomPrompt="1"/>
          </p:nvPr>
        </p:nvSpPr>
        <p:spPr>
          <a:xfrm>
            <a:off x="4572000" y="617535"/>
            <a:ext cx="4572000" cy="4525964"/>
          </a:xfrm>
          <a:custGeom>
            <a:avLst/>
            <a:gdLst>
              <a:gd name="connsiteX0" fmla="*/ 232126 w 4572000"/>
              <a:gd name="connsiteY0" fmla="*/ 3528165 h 4525964"/>
              <a:gd name="connsiteX1" fmla="*/ 180959 w 4572000"/>
              <a:gd name="connsiteY1" fmla="*/ 3579332 h 4525964"/>
              <a:gd name="connsiteX2" fmla="*/ 232126 w 4572000"/>
              <a:gd name="connsiteY2" fmla="*/ 3630499 h 4525964"/>
              <a:gd name="connsiteX3" fmla="*/ 283293 w 4572000"/>
              <a:gd name="connsiteY3" fmla="*/ 3579332 h 4525964"/>
              <a:gd name="connsiteX4" fmla="*/ 232126 w 4572000"/>
              <a:gd name="connsiteY4" fmla="*/ 3528165 h 4525964"/>
              <a:gd name="connsiteX5" fmla="*/ 3295722 w 4572000"/>
              <a:gd name="connsiteY5" fmla="*/ 0 h 4525964"/>
              <a:gd name="connsiteX6" fmla="*/ 4572000 w 4572000"/>
              <a:gd name="connsiteY6" fmla="*/ 0 h 4525964"/>
              <a:gd name="connsiteX7" fmla="*/ 4572000 w 4572000"/>
              <a:gd name="connsiteY7" fmla="*/ 4525964 h 4525964"/>
              <a:gd name="connsiteX8" fmla="*/ 4568752 w 4572000"/>
              <a:gd name="connsiteY8" fmla="*/ 4525964 h 4525964"/>
              <a:gd name="connsiteX9" fmla="*/ 3295722 w 4572000"/>
              <a:gd name="connsiteY9" fmla="*/ 4525964 h 4525964"/>
              <a:gd name="connsiteX10" fmla="*/ 0 w 4572000"/>
              <a:gd name="connsiteY10" fmla="*/ 4525964 h 4525964"/>
              <a:gd name="connsiteX11" fmla="*/ 0 w 4572000"/>
              <a:gd name="connsiteY11" fmla="*/ 3910015 h 4525964"/>
              <a:gd name="connsiteX12" fmla="*/ 0 w 4572000"/>
              <a:gd name="connsiteY12" fmla="*/ 3886201 h 4525964"/>
              <a:gd name="connsiteX13" fmla="*/ 0 w 4572000"/>
              <a:gd name="connsiteY13" fmla="*/ 3860265 h 4525964"/>
              <a:gd name="connsiteX14" fmla="*/ 1738 w 4572000"/>
              <a:gd name="connsiteY14" fmla="*/ 3860616 h 4525964"/>
              <a:gd name="connsiteX15" fmla="*/ 52907 w 4572000"/>
              <a:gd name="connsiteY15" fmla="*/ 3809449 h 4525964"/>
              <a:gd name="connsiteX16" fmla="*/ 1738 w 4572000"/>
              <a:gd name="connsiteY16" fmla="*/ 3758282 h 4525964"/>
              <a:gd name="connsiteX17" fmla="*/ 0 w 4572000"/>
              <a:gd name="connsiteY17" fmla="*/ 3758633 h 4525964"/>
              <a:gd name="connsiteX18" fmla="*/ 0 w 4572000"/>
              <a:gd name="connsiteY18" fmla="*/ 3738840 h 4525964"/>
              <a:gd name="connsiteX19" fmla="*/ 1809 w 4572000"/>
              <a:gd name="connsiteY19" fmla="*/ 3739205 h 4525964"/>
              <a:gd name="connsiteX20" fmla="*/ 52978 w 4572000"/>
              <a:gd name="connsiteY20" fmla="*/ 3688036 h 4525964"/>
              <a:gd name="connsiteX21" fmla="*/ 52978 w 4572000"/>
              <a:gd name="connsiteY21" fmla="*/ 3681644 h 4525964"/>
              <a:gd name="connsiteX22" fmla="*/ 104147 w 4572000"/>
              <a:gd name="connsiteY22" fmla="*/ 3630477 h 4525964"/>
              <a:gd name="connsiteX23" fmla="*/ 110537 w 4572000"/>
              <a:gd name="connsiteY23" fmla="*/ 3630477 h 4525964"/>
              <a:gd name="connsiteX24" fmla="*/ 161706 w 4572000"/>
              <a:gd name="connsiteY24" fmla="*/ 3579310 h 4525964"/>
              <a:gd name="connsiteX25" fmla="*/ 110537 w 4572000"/>
              <a:gd name="connsiteY25" fmla="*/ 3528143 h 4525964"/>
              <a:gd name="connsiteX26" fmla="*/ 104147 w 4572000"/>
              <a:gd name="connsiteY26" fmla="*/ 3528143 h 4525964"/>
              <a:gd name="connsiteX27" fmla="*/ 52978 w 4572000"/>
              <a:gd name="connsiteY27" fmla="*/ 3476974 h 4525964"/>
              <a:gd name="connsiteX28" fmla="*/ 52978 w 4572000"/>
              <a:gd name="connsiteY28" fmla="*/ 3470582 h 4525964"/>
              <a:gd name="connsiteX29" fmla="*/ 1809 w 4572000"/>
              <a:gd name="connsiteY29" fmla="*/ 3419417 h 4525964"/>
              <a:gd name="connsiteX30" fmla="*/ 0 w 4572000"/>
              <a:gd name="connsiteY30" fmla="*/ 3419782 h 4525964"/>
              <a:gd name="connsiteX31" fmla="*/ 0 w 4572000"/>
              <a:gd name="connsiteY31" fmla="*/ 3400029 h 4525964"/>
              <a:gd name="connsiteX32" fmla="*/ 1738 w 4572000"/>
              <a:gd name="connsiteY32" fmla="*/ 3400380 h 4525964"/>
              <a:gd name="connsiteX33" fmla="*/ 52907 w 4572000"/>
              <a:gd name="connsiteY33" fmla="*/ 3349213 h 4525964"/>
              <a:gd name="connsiteX34" fmla="*/ 1738 w 4572000"/>
              <a:gd name="connsiteY34" fmla="*/ 3298046 h 4525964"/>
              <a:gd name="connsiteX35" fmla="*/ 0 w 4572000"/>
              <a:gd name="connsiteY35" fmla="*/ 3298397 h 4525964"/>
              <a:gd name="connsiteX36" fmla="*/ 0 w 4572000"/>
              <a:gd name="connsiteY36" fmla="*/ 841340 h 4525964"/>
              <a:gd name="connsiteX37" fmla="*/ 0 w 4572000"/>
              <a:gd name="connsiteY37" fmla="*/ 411164 h 4525964"/>
              <a:gd name="connsiteX38" fmla="*/ 0 w 4572000"/>
              <a:gd name="connsiteY38" fmla="*/ 0 h 4525964"/>
              <a:gd name="connsiteX39" fmla="*/ 3295722 w 4572000"/>
              <a:gd name="connsiteY39" fmla="*/ 0 h 45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572000" h="4525964">
                <a:moveTo>
                  <a:pt x="232126" y="3528165"/>
                </a:moveTo>
                <a:cubicBezTo>
                  <a:pt x="203868" y="3528165"/>
                  <a:pt x="180959" y="3551074"/>
                  <a:pt x="180959" y="3579332"/>
                </a:cubicBezTo>
                <a:cubicBezTo>
                  <a:pt x="180959" y="3607593"/>
                  <a:pt x="203868" y="3630499"/>
                  <a:pt x="232126" y="3630499"/>
                </a:cubicBezTo>
                <a:cubicBezTo>
                  <a:pt x="260387" y="3630499"/>
                  <a:pt x="283293" y="3607593"/>
                  <a:pt x="283293" y="3579332"/>
                </a:cubicBezTo>
                <a:cubicBezTo>
                  <a:pt x="283293" y="3551074"/>
                  <a:pt x="260387" y="3528165"/>
                  <a:pt x="232126" y="3528165"/>
                </a:cubicBezTo>
                <a:close/>
                <a:moveTo>
                  <a:pt x="3295722" y="0"/>
                </a:moveTo>
                <a:lnTo>
                  <a:pt x="4572000" y="0"/>
                </a:lnTo>
                <a:lnTo>
                  <a:pt x="4572000" y="4525964"/>
                </a:lnTo>
                <a:lnTo>
                  <a:pt x="4568752" y="4525964"/>
                </a:lnTo>
                <a:lnTo>
                  <a:pt x="3295722" y="4525964"/>
                </a:lnTo>
                <a:lnTo>
                  <a:pt x="0" y="4525964"/>
                </a:lnTo>
                <a:lnTo>
                  <a:pt x="0" y="3910015"/>
                </a:lnTo>
                <a:lnTo>
                  <a:pt x="0" y="3886201"/>
                </a:lnTo>
                <a:lnTo>
                  <a:pt x="0" y="3860265"/>
                </a:lnTo>
                <a:lnTo>
                  <a:pt x="1738" y="3860616"/>
                </a:lnTo>
                <a:cubicBezTo>
                  <a:pt x="30001" y="3860616"/>
                  <a:pt x="52907" y="3837710"/>
                  <a:pt x="52907" y="3809449"/>
                </a:cubicBezTo>
                <a:cubicBezTo>
                  <a:pt x="52907" y="3781191"/>
                  <a:pt x="30001" y="3758282"/>
                  <a:pt x="1738" y="3758282"/>
                </a:cubicBezTo>
                <a:lnTo>
                  <a:pt x="0" y="3758633"/>
                </a:lnTo>
                <a:lnTo>
                  <a:pt x="0" y="3738840"/>
                </a:lnTo>
                <a:lnTo>
                  <a:pt x="1809" y="3739205"/>
                </a:lnTo>
                <a:cubicBezTo>
                  <a:pt x="30072" y="3739205"/>
                  <a:pt x="52978" y="3716299"/>
                  <a:pt x="52978" y="3688036"/>
                </a:cubicBezTo>
                <a:lnTo>
                  <a:pt x="52978" y="3681644"/>
                </a:lnTo>
                <a:cubicBezTo>
                  <a:pt x="52978" y="3653383"/>
                  <a:pt x="75886" y="3630477"/>
                  <a:pt x="104147" y="3630477"/>
                </a:cubicBezTo>
                <a:lnTo>
                  <a:pt x="110537" y="3630477"/>
                </a:lnTo>
                <a:cubicBezTo>
                  <a:pt x="138798" y="3630477"/>
                  <a:pt x="161706" y="3607571"/>
                  <a:pt x="161706" y="3579310"/>
                </a:cubicBezTo>
                <a:cubicBezTo>
                  <a:pt x="161706" y="3551049"/>
                  <a:pt x="138798" y="3528143"/>
                  <a:pt x="110537" y="3528143"/>
                </a:cubicBezTo>
                <a:lnTo>
                  <a:pt x="104147" y="3528143"/>
                </a:lnTo>
                <a:cubicBezTo>
                  <a:pt x="75886" y="3528143"/>
                  <a:pt x="52978" y="3505237"/>
                  <a:pt x="52978" y="3476974"/>
                </a:cubicBezTo>
                <a:lnTo>
                  <a:pt x="52978" y="3470582"/>
                </a:lnTo>
                <a:cubicBezTo>
                  <a:pt x="52978" y="3442326"/>
                  <a:pt x="30072" y="3419417"/>
                  <a:pt x="1809" y="3419417"/>
                </a:cubicBezTo>
                <a:lnTo>
                  <a:pt x="0" y="3419782"/>
                </a:lnTo>
                <a:lnTo>
                  <a:pt x="0" y="3400029"/>
                </a:lnTo>
                <a:lnTo>
                  <a:pt x="1738" y="3400380"/>
                </a:lnTo>
                <a:cubicBezTo>
                  <a:pt x="30001" y="3400380"/>
                  <a:pt x="52907" y="3377474"/>
                  <a:pt x="52907" y="3349213"/>
                </a:cubicBezTo>
                <a:cubicBezTo>
                  <a:pt x="52907" y="3320955"/>
                  <a:pt x="30001" y="3298046"/>
                  <a:pt x="1738" y="3298046"/>
                </a:cubicBezTo>
                <a:lnTo>
                  <a:pt x="0" y="3298397"/>
                </a:lnTo>
                <a:lnTo>
                  <a:pt x="0" y="841340"/>
                </a:lnTo>
                <a:lnTo>
                  <a:pt x="0" y="411164"/>
                </a:lnTo>
                <a:lnTo>
                  <a:pt x="0" y="0"/>
                </a:lnTo>
                <a:lnTo>
                  <a:pt x="3295722" y="0"/>
                </a:lnTo>
                <a:close/>
              </a:path>
            </a:pathLst>
          </a:custGeom>
          <a:solidFill>
            <a:schemeClr val="bg1">
              <a:lumMod val="85000"/>
            </a:schemeClr>
          </a:solidFill>
        </p:spPr>
        <p:txBody>
          <a:bodyPr wrap="square" lIns="0" rIns="0" anchor="ctr">
            <a:noAutofit/>
          </a:bodyPr>
          <a:lstStyle>
            <a:lvl1pPr marL="0" indent="0" algn="ctr" rtl="0">
              <a:buNone/>
              <a:defRPr/>
            </a:lvl1pPr>
          </a:lstStyle>
          <a:p>
            <a:r>
              <a:rPr lang="de-DE" dirty="0"/>
              <a:t>Bild hinzufügen</a:t>
            </a:r>
          </a:p>
        </p:txBody>
      </p:sp>
    </p:spTree>
    <p:extLst>
      <p:ext uri="{BB962C8B-B14F-4D97-AF65-F5344CB8AC3E}">
        <p14:creationId xmlns:p14="http://schemas.microsoft.com/office/powerpoint/2010/main" val="4120580590"/>
      </p:ext>
    </p:extLst>
  </p:cSld>
  <p:clrMapOvr>
    <a:masterClrMapping/>
  </p:clrMapOvr>
  <p:extLst>
    <p:ext uri="{DCECCB84-F9BA-43D5-87BE-67443E8EF086}">
      <p15:sldGuideLst xmlns:p15="http://schemas.microsoft.com/office/powerpoint/2012/main">
        <p15:guide id="1" pos="231" userDrawn="1">
          <p15:clr>
            <a:srgbClr val="F26B43"/>
          </p15:clr>
        </p15:guide>
        <p15:guide id="2" orient="horz" pos="648">
          <p15:clr>
            <a:srgbClr val="F26B43"/>
          </p15:clr>
        </p15:guide>
        <p15:guide id="3" orient="horz" pos="3111" userDrawn="1">
          <p15:clr>
            <a:srgbClr val="F26B43"/>
          </p15:clr>
        </p15:guide>
        <p15:guide id="5" orient="horz" pos="389">
          <p15:clr>
            <a:srgbClr val="F26B43"/>
          </p15:clr>
        </p15:guide>
        <p15:guide id="6" pos="2880"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mit Text &amp; Farbige Fläche  / dunkelgrü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B55E966-152B-4155-BC8B-37B3DB47884B}"/>
              </a:ext>
            </a:extLst>
          </p:cNvPr>
          <p:cNvGraphicFramePr>
            <a:graphicFrameLocks noChangeAspect="1"/>
          </p:cNvGraphicFramePr>
          <p:nvPr userDrawn="1">
            <p:custDataLst>
              <p:tags r:id="rId2"/>
            </p:custDataLst>
            <p:extLst>
              <p:ext uri="{D42A27DB-BD31-4B8C-83A1-F6EECF244321}">
                <p14:modId xmlns:p14="http://schemas.microsoft.com/office/powerpoint/2010/main" val="2257038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376"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B55E966-152B-4155-BC8B-37B3DB4788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605D5426-1391-4BA2-884D-0F59552042BD}"/>
              </a:ext>
            </a:extLst>
          </p:cNvPr>
          <p:cNvSpPr/>
          <p:nvPr userDrawn="1"/>
        </p:nvSpPr>
        <p:spPr>
          <a:xfrm>
            <a:off x="0" y="617537"/>
            <a:ext cx="9144000" cy="45259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rtl="0"/>
            <a:endParaRPr lang="de-DE" sz="1400" dirty="0">
              <a:solidFill>
                <a:schemeClr val="bg1"/>
              </a:solidFill>
            </a:endParaRPr>
          </a:p>
        </p:txBody>
      </p:sp>
      <p:sp>
        <p:nvSpPr>
          <p:cNvPr id="23" name="Rectangle 22">
            <a:extLst>
              <a:ext uri="{FF2B5EF4-FFF2-40B4-BE49-F238E27FC236}">
                <a16:creationId xmlns:a16="http://schemas.microsoft.com/office/drawing/2014/main" id="{F716B015-EE3F-4DD5-90D5-8A6A27A36DC1}"/>
              </a:ext>
            </a:extLst>
          </p:cNvPr>
          <p:cNvSpPr/>
          <p:nvPr userDrawn="1"/>
        </p:nvSpPr>
        <p:spPr>
          <a:xfrm>
            <a:off x="4572000" y="617537"/>
            <a:ext cx="4572000" cy="452596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rtl="0"/>
            <a:endParaRPr lang="de-DE" sz="1400" dirty="0">
              <a:solidFill>
                <a:schemeClr val="bg1"/>
              </a:solidFill>
            </a:endParaRPr>
          </a:p>
        </p:txBody>
      </p:sp>
      <p:sp>
        <p:nvSpPr>
          <p:cNvPr id="2" name="Title 1">
            <a:extLst>
              <a:ext uri="{FF2B5EF4-FFF2-40B4-BE49-F238E27FC236}">
                <a16:creationId xmlns:a16="http://schemas.microsoft.com/office/drawing/2014/main" id="{FA37A3E9-4AC7-40AB-9175-27E504FE91D6}"/>
              </a:ext>
            </a:extLst>
          </p:cNvPr>
          <p:cNvSpPr>
            <a:spLocks noGrp="1"/>
          </p:cNvSpPr>
          <p:nvPr>
            <p:ph type="title" hasCustomPrompt="1"/>
          </p:nvPr>
        </p:nvSpPr>
        <p:spPr/>
        <p:txBody>
          <a:bodyPr vert="horz"/>
          <a:lstStyle>
            <a:lvl1pPr rtl="0">
              <a:defRPr/>
            </a:lvl1pPr>
          </a:lstStyle>
          <a:p>
            <a:r>
              <a:rPr lang="de-DE" noProof="0" dirty="0"/>
              <a:t>Titel </a:t>
            </a:r>
            <a:br>
              <a:rPr lang="de-DE" noProof="0" dirty="0"/>
            </a:br>
            <a:r>
              <a:rPr lang="de-DE" noProof="0" dirty="0"/>
              <a:t>hinzufügen</a:t>
            </a:r>
            <a:endParaRPr lang="de-DE" dirty="0"/>
          </a:p>
        </p:txBody>
      </p:sp>
      <p:sp>
        <p:nvSpPr>
          <p:cNvPr id="6" name="Slide Number Placeholder 5">
            <a:extLst>
              <a:ext uri="{FF2B5EF4-FFF2-40B4-BE49-F238E27FC236}">
                <a16:creationId xmlns:a16="http://schemas.microsoft.com/office/drawing/2014/main" id="{944DA456-96F7-4E88-B5F0-01FD9C0599E9}"/>
              </a:ext>
            </a:extLst>
          </p:cNvPr>
          <p:cNvSpPr>
            <a:spLocks noGrp="1"/>
          </p:cNvSpPr>
          <p:nvPr>
            <p:ph type="sldNum" sz="quarter" idx="12"/>
          </p:nvPr>
        </p:nvSpPr>
        <p:spPr/>
        <p:txBody>
          <a:bodyPr/>
          <a:lstStyle>
            <a:lvl1pPr rtl="0">
              <a:defRPr>
                <a:solidFill>
                  <a:schemeClr val="bg1"/>
                </a:solidFill>
              </a:defRPr>
            </a:lvl1pPr>
          </a:lstStyle>
          <a:p>
            <a:fld id="{61A237A4-5F56-495D-ADE9-563CDE6DCB6B}" type="slidenum">
              <a:rPr lang="de-DE" smtClean="0"/>
              <a:pPr/>
              <a:t>‹Nr.›</a:t>
            </a:fld>
            <a:endParaRPr lang="de-DE" dirty="0"/>
          </a:p>
        </p:txBody>
      </p:sp>
      <p:sp>
        <p:nvSpPr>
          <p:cNvPr id="10" name="Text Placeholder 9">
            <a:extLst>
              <a:ext uri="{FF2B5EF4-FFF2-40B4-BE49-F238E27FC236}">
                <a16:creationId xmlns:a16="http://schemas.microsoft.com/office/drawing/2014/main" id="{56B40821-1E4B-4B1A-A4EC-67ED383914AF}"/>
              </a:ext>
            </a:extLst>
          </p:cNvPr>
          <p:cNvSpPr>
            <a:spLocks noGrp="1"/>
          </p:cNvSpPr>
          <p:nvPr>
            <p:ph type="body" sz="quarter" idx="13" hasCustomPrompt="1"/>
          </p:nvPr>
        </p:nvSpPr>
        <p:spPr>
          <a:xfrm>
            <a:off x="366713" y="1028700"/>
            <a:ext cx="3657600" cy="3703637"/>
          </a:xfrm>
        </p:spPr>
        <p:txBody>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de-DE" noProof="0" dirty="0"/>
              <a:t>Erste Ebene</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1" name="Text Placeholder 9">
            <a:extLst>
              <a:ext uri="{FF2B5EF4-FFF2-40B4-BE49-F238E27FC236}">
                <a16:creationId xmlns:a16="http://schemas.microsoft.com/office/drawing/2014/main" id="{B4B60243-B22D-4DE0-8846-1532F903A022}"/>
              </a:ext>
            </a:extLst>
          </p:cNvPr>
          <p:cNvSpPr>
            <a:spLocks noGrp="1"/>
          </p:cNvSpPr>
          <p:nvPr>
            <p:ph type="body" sz="quarter" idx="14" hasCustomPrompt="1"/>
          </p:nvPr>
        </p:nvSpPr>
        <p:spPr>
          <a:xfrm>
            <a:off x="1098550" y="4938713"/>
            <a:ext cx="7678290" cy="204787"/>
          </a:xfrm>
        </p:spPr>
        <p:txBody>
          <a:bodyPr anchor="ctr">
            <a:noAutofit/>
          </a:bodyPr>
          <a:lstStyle>
            <a:lvl1pPr marL="0" indent="0" rtl="0">
              <a:spcAft>
                <a:spcPts val="0"/>
              </a:spcAft>
              <a:buNone/>
              <a:defRPr sz="600">
                <a:solidFill>
                  <a:schemeClr val="bg1"/>
                </a:solidFill>
              </a:defRPr>
            </a:lvl1pPr>
            <a:lvl2pPr marL="0" indent="0">
              <a:spcAft>
                <a:spcPts val="0"/>
              </a:spcAft>
              <a:buFont typeface="Arial" panose="020B0604020202020204" pitchFamily="34" charset="0"/>
              <a:buNone/>
              <a:defRPr sz="600"/>
            </a:lvl2pPr>
            <a:lvl3pPr marL="0" indent="0">
              <a:spcAft>
                <a:spcPts val="0"/>
              </a:spcAft>
              <a:buFont typeface="Arial" panose="020B0604020202020204" pitchFamily="34" charset="0"/>
              <a:buNone/>
              <a:defRPr sz="600"/>
            </a:lvl3pPr>
          </a:lstStyle>
          <a:p>
            <a:pPr lvl="0"/>
            <a:r>
              <a:rPr lang="de-DE" noProof="0" dirty="0"/>
              <a:t>Quelle: </a:t>
            </a:r>
          </a:p>
        </p:txBody>
      </p:sp>
      <p:sp>
        <p:nvSpPr>
          <p:cNvPr id="25" name="Freeform: Shape 24">
            <a:extLst>
              <a:ext uri="{FF2B5EF4-FFF2-40B4-BE49-F238E27FC236}">
                <a16:creationId xmlns:a16="http://schemas.microsoft.com/office/drawing/2014/main" id="{8717E3A8-1359-4586-9A82-A968B90C44C5}"/>
              </a:ext>
            </a:extLst>
          </p:cNvPr>
          <p:cNvSpPr/>
          <p:nvPr userDrawn="1"/>
        </p:nvSpPr>
        <p:spPr>
          <a:xfrm flipV="1">
            <a:off x="8213729" y="337025"/>
            <a:ext cx="563111" cy="562570"/>
          </a:xfrm>
          <a:custGeom>
            <a:avLst/>
            <a:gdLst>
              <a:gd name="connsiteX0" fmla="*/ 281556 w 563111"/>
              <a:gd name="connsiteY0" fmla="*/ 102334 h 562570"/>
              <a:gd name="connsiteX1" fmla="*/ 332725 w 563111"/>
              <a:gd name="connsiteY1" fmla="*/ 51167 h 562570"/>
              <a:gd name="connsiteX2" fmla="*/ 281556 w 563111"/>
              <a:gd name="connsiteY2" fmla="*/ 0 h 562570"/>
              <a:gd name="connsiteX3" fmla="*/ 230389 w 563111"/>
              <a:gd name="connsiteY3" fmla="*/ 51167 h 562570"/>
              <a:gd name="connsiteX4" fmla="*/ 281556 w 563111"/>
              <a:gd name="connsiteY4" fmla="*/ 102334 h 562570"/>
              <a:gd name="connsiteX5" fmla="*/ 511944 w 563111"/>
              <a:gd name="connsiteY5" fmla="*/ 332451 h 562570"/>
              <a:gd name="connsiteX6" fmla="*/ 563111 w 563111"/>
              <a:gd name="connsiteY6" fmla="*/ 281284 h 562570"/>
              <a:gd name="connsiteX7" fmla="*/ 511944 w 563111"/>
              <a:gd name="connsiteY7" fmla="*/ 230117 h 562570"/>
              <a:gd name="connsiteX8" fmla="*/ 460777 w 563111"/>
              <a:gd name="connsiteY8" fmla="*/ 281284 h 562570"/>
              <a:gd name="connsiteX9" fmla="*/ 511944 w 563111"/>
              <a:gd name="connsiteY9" fmla="*/ 332451 h 562570"/>
              <a:gd name="connsiteX10" fmla="*/ 51167 w 563111"/>
              <a:gd name="connsiteY10" fmla="*/ 332451 h 562570"/>
              <a:gd name="connsiteX11" fmla="*/ 102334 w 563111"/>
              <a:gd name="connsiteY11" fmla="*/ 281284 h 562570"/>
              <a:gd name="connsiteX12" fmla="*/ 51167 w 563111"/>
              <a:gd name="connsiteY12" fmla="*/ 230117 h 562570"/>
              <a:gd name="connsiteX13" fmla="*/ 0 w 563111"/>
              <a:gd name="connsiteY13" fmla="*/ 281284 h 562570"/>
              <a:gd name="connsiteX14" fmla="*/ 51167 w 563111"/>
              <a:gd name="connsiteY14" fmla="*/ 332451 h 562570"/>
              <a:gd name="connsiteX15" fmla="*/ 281627 w 563111"/>
              <a:gd name="connsiteY15" fmla="*/ 441199 h 562570"/>
              <a:gd name="connsiteX16" fmla="*/ 332796 w 563111"/>
              <a:gd name="connsiteY16" fmla="*/ 390034 h 562570"/>
              <a:gd name="connsiteX17" fmla="*/ 332796 w 563111"/>
              <a:gd name="connsiteY17" fmla="*/ 383642 h 562570"/>
              <a:gd name="connsiteX18" fmla="*/ 383965 w 563111"/>
              <a:gd name="connsiteY18" fmla="*/ 332473 h 562570"/>
              <a:gd name="connsiteX19" fmla="*/ 390355 w 563111"/>
              <a:gd name="connsiteY19" fmla="*/ 332473 h 562570"/>
              <a:gd name="connsiteX20" fmla="*/ 441524 w 563111"/>
              <a:gd name="connsiteY20" fmla="*/ 281306 h 562570"/>
              <a:gd name="connsiteX21" fmla="*/ 390355 w 563111"/>
              <a:gd name="connsiteY21" fmla="*/ 230139 h 562570"/>
              <a:gd name="connsiteX22" fmla="*/ 383965 w 563111"/>
              <a:gd name="connsiteY22" fmla="*/ 230139 h 562570"/>
              <a:gd name="connsiteX23" fmla="*/ 332796 w 563111"/>
              <a:gd name="connsiteY23" fmla="*/ 178972 h 562570"/>
              <a:gd name="connsiteX24" fmla="*/ 332796 w 563111"/>
              <a:gd name="connsiteY24" fmla="*/ 172580 h 562570"/>
              <a:gd name="connsiteX25" fmla="*/ 281627 w 563111"/>
              <a:gd name="connsiteY25" fmla="*/ 121411 h 562570"/>
              <a:gd name="connsiteX26" fmla="*/ 230460 w 563111"/>
              <a:gd name="connsiteY26" fmla="*/ 172580 h 562570"/>
              <a:gd name="connsiteX27" fmla="*/ 230460 w 563111"/>
              <a:gd name="connsiteY27" fmla="*/ 178972 h 562570"/>
              <a:gd name="connsiteX28" fmla="*/ 179293 w 563111"/>
              <a:gd name="connsiteY28" fmla="*/ 230139 h 562570"/>
              <a:gd name="connsiteX29" fmla="*/ 172896 w 563111"/>
              <a:gd name="connsiteY29" fmla="*/ 230139 h 562570"/>
              <a:gd name="connsiteX30" fmla="*/ 121729 w 563111"/>
              <a:gd name="connsiteY30" fmla="*/ 281306 h 562570"/>
              <a:gd name="connsiteX31" fmla="*/ 172896 w 563111"/>
              <a:gd name="connsiteY31" fmla="*/ 332473 h 562570"/>
              <a:gd name="connsiteX32" fmla="*/ 179293 w 563111"/>
              <a:gd name="connsiteY32" fmla="*/ 332475 h 562570"/>
              <a:gd name="connsiteX33" fmla="*/ 230460 w 563111"/>
              <a:gd name="connsiteY33" fmla="*/ 383642 h 562570"/>
              <a:gd name="connsiteX34" fmla="*/ 230460 w 563111"/>
              <a:gd name="connsiteY34" fmla="*/ 390034 h 562570"/>
              <a:gd name="connsiteX35" fmla="*/ 281627 w 563111"/>
              <a:gd name="connsiteY35" fmla="*/ 441199 h 562570"/>
              <a:gd name="connsiteX36" fmla="*/ 281556 w 563111"/>
              <a:gd name="connsiteY36" fmla="*/ 562570 h 562570"/>
              <a:gd name="connsiteX37" fmla="*/ 332725 w 563111"/>
              <a:gd name="connsiteY37" fmla="*/ 511403 h 562570"/>
              <a:gd name="connsiteX38" fmla="*/ 281556 w 563111"/>
              <a:gd name="connsiteY38" fmla="*/ 460236 h 562570"/>
              <a:gd name="connsiteX39" fmla="*/ 230389 w 563111"/>
              <a:gd name="connsiteY39" fmla="*/ 511403 h 562570"/>
              <a:gd name="connsiteX40" fmla="*/ 281556 w 563111"/>
              <a:gd name="connsiteY40" fmla="*/ 562570 h 5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63111" h="562570">
                <a:moveTo>
                  <a:pt x="281556" y="102334"/>
                </a:moveTo>
                <a:cubicBezTo>
                  <a:pt x="309819" y="102334"/>
                  <a:pt x="332725" y="79425"/>
                  <a:pt x="332725" y="51167"/>
                </a:cubicBezTo>
                <a:cubicBezTo>
                  <a:pt x="332725" y="22906"/>
                  <a:pt x="309819" y="0"/>
                  <a:pt x="281556" y="0"/>
                </a:cubicBezTo>
                <a:cubicBezTo>
                  <a:pt x="253298" y="0"/>
                  <a:pt x="230389" y="22906"/>
                  <a:pt x="230389" y="51167"/>
                </a:cubicBezTo>
                <a:cubicBezTo>
                  <a:pt x="230389" y="79425"/>
                  <a:pt x="253298" y="102334"/>
                  <a:pt x="281556" y="102334"/>
                </a:cubicBezTo>
                <a:close/>
                <a:moveTo>
                  <a:pt x="511944" y="332451"/>
                </a:moveTo>
                <a:cubicBezTo>
                  <a:pt x="540205" y="332451"/>
                  <a:pt x="563111" y="309542"/>
                  <a:pt x="563111" y="281284"/>
                </a:cubicBezTo>
                <a:cubicBezTo>
                  <a:pt x="563111" y="253023"/>
                  <a:pt x="540205" y="230117"/>
                  <a:pt x="511944" y="230117"/>
                </a:cubicBezTo>
                <a:cubicBezTo>
                  <a:pt x="483686" y="230117"/>
                  <a:pt x="460777" y="253023"/>
                  <a:pt x="460777" y="281284"/>
                </a:cubicBezTo>
                <a:cubicBezTo>
                  <a:pt x="460777" y="309542"/>
                  <a:pt x="483686" y="332451"/>
                  <a:pt x="511944" y="332451"/>
                </a:cubicBezTo>
                <a:close/>
                <a:moveTo>
                  <a:pt x="51167" y="332451"/>
                </a:moveTo>
                <a:cubicBezTo>
                  <a:pt x="79428" y="332451"/>
                  <a:pt x="102334" y="309542"/>
                  <a:pt x="102334" y="281284"/>
                </a:cubicBezTo>
                <a:cubicBezTo>
                  <a:pt x="102334" y="253023"/>
                  <a:pt x="79428" y="230117"/>
                  <a:pt x="51167" y="230117"/>
                </a:cubicBezTo>
                <a:cubicBezTo>
                  <a:pt x="22909" y="230117"/>
                  <a:pt x="0" y="253023"/>
                  <a:pt x="0" y="281284"/>
                </a:cubicBezTo>
                <a:cubicBezTo>
                  <a:pt x="0" y="309542"/>
                  <a:pt x="22909" y="332451"/>
                  <a:pt x="51167" y="332451"/>
                </a:cubicBezTo>
                <a:close/>
                <a:moveTo>
                  <a:pt x="281627" y="441199"/>
                </a:moveTo>
                <a:cubicBezTo>
                  <a:pt x="309890" y="441199"/>
                  <a:pt x="332796" y="418290"/>
                  <a:pt x="332796" y="390034"/>
                </a:cubicBezTo>
                <a:lnTo>
                  <a:pt x="332796" y="383642"/>
                </a:lnTo>
                <a:cubicBezTo>
                  <a:pt x="332796" y="355379"/>
                  <a:pt x="355704" y="332473"/>
                  <a:pt x="383965" y="332473"/>
                </a:cubicBezTo>
                <a:lnTo>
                  <a:pt x="390355" y="332473"/>
                </a:lnTo>
                <a:cubicBezTo>
                  <a:pt x="418616" y="332473"/>
                  <a:pt x="441524" y="309567"/>
                  <a:pt x="441524" y="281306"/>
                </a:cubicBezTo>
                <a:cubicBezTo>
                  <a:pt x="441524" y="253045"/>
                  <a:pt x="418616" y="230139"/>
                  <a:pt x="390355" y="230139"/>
                </a:cubicBezTo>
                <a:lnTo>
                  <a:pt x="383965" y="230139"/>
                </a:lnTo>
                <a:cubicBezTo>
                  <a:pt x="355704" y="230139"/>
                  <a:pt x="332796" y="207233"/>
                  <a:pt x="332796" y="178972"/>
                </a:cubicBezTo>
                <a:lnTo>
                  <a:pt x="332796" y="172580"/>
                </a:lnTo>
                <a:cubicBezTo>
                  <a:pt x="332796" y="144317"/>
                  <a:pt x="309890" y="121411"/>
                  <a:pt x="281627" y="121411"/>
                </a:cubicBezTo>
                <a:cubicBezTo>
                  <a:pt x="253371" y="121411"/>
                  <a:pt x="230460" y="144317"/>
                  <a:pt x="230460" y="172580"/>
                </a:cubicBezTo>
                <a:lnTo>
                  <a:pt x="230460" y="178972"/>
                </a:lnTo>
                <a:cubicBezTo>
                  <a:pt x="230460" y="207233"/>
                  <a:pt x="207553" y="230139"/>
                  <a:pt x="179293" y="230139"/>
                </a:cubicBezTo>
                <a:lnTo>
                  <a:pt x="172896" y="230139"/>
                </a:lnTo>
                <a:cubicBezTo>
                  <a:pt x="144638" y="230139"/>
                  <a:pt x="121729" y="253045"/>
                  <a:pt x="121729" y="281306"/>
                </a:cubicBezTo>
                <a:cubicBezTo>
                  <a:pt x="121729" y="309567"/>
                  <a:pt x="144638" y="332473"/>
                  <a:pt x="172896" y="332473"/>
                </a:cubicBezTo>
                <a:lnTo>
                  <a:pt x="179293" y="332475"/>
                </a:lnTo>
                <a:cubicBezTo>
                  <a:pt x="207553" y="332475"/>
                  <a:pt x="230460" y="355379"/>
                  <a:pt x="230460" y="383642"/>
                </a:cubicBezTo>
                <a:lnTo>
                  <a:pt x="230460" y="390034"/>
                </a:lnTo>
                <a:cubicBezTo>
                  <a:pt x="230460" y="418290"/>
                  <a:pt x="253371" y="441199"/>
                  <a:pt x="281627" y="441199"/>
                </a:cubicBezTo>
                <a:close/>
                <a:moveTo>
                  <a:pt x="281556" y="562570"/>
                </a:moveTo>
                <a:cubicBezTo>
                  <a:pt x="309819" y="562570"/>
                  <a:pt x="332725" y="539661"/>
                  <a:pt x="332725" y="511403"/>
                </a:cubicBezTo>
                <a:cubicBezTo>
                  <a:pt x="332725" y="483142"/>
                  <a:pt x="309819" y="460236"/>
                  <a:pt x="281556" y="460236"/>
                </a:cubicBezTo>
                <a:cubicBezTo>
                  <a:pt x="253298" y="460236"/>
                  <a:pt x="230389" y="483142"/>
                  <a:pt x="230389" y="511403"/>
                </a:cubicBezTo>
                <a:cubicBezTo>
                  <a:pt x="230389" y="539661"/>
                  <a:pt x="253298" y="562570"/>
                  <a:pt x="281556" y="562570"/>
                </a:cubicBezTo>
                <a:close/>
              </a:path>
            </a:pathLst>
          </a:custGeom>
          <a:solidFill>
            <a:schemeClr val="accent6"/>
          </a:solidFill>
          <a:ln w="2251" cap="flat">
            <a:noFill/>
            <a:prstDash val="solid"/>
            <a:miter/>
          </a:ln>
        </p:spPr>
        <p:txBody>
          <a:bodyPr rtlCol="0" anchor="ctr"/>
          <a:lstStyle/>
          <a:p>
            <a:pPr rtl="0"/>
            <a:endParaRPr lang="de-DE" dirty="0"/>
          </a:p>
        </p:txBody>
      </p:sp>
      <p:grpSp>
        <p:nvGrpSpPr>
          <p:cNvPr id="26" name="Group 25">
            <a:extLst>
              <a:ext uri="{FF2B5EF4-FFF2-40B4-BE49-F238E27FC236}">
                <a16:creationId xmlns:a16="http://schemas.microsoft.com/office/drawing/2014/main" id="{BCEFA8AF-1CB1-43B4-A368-F1E5734089D1}"/>
              </a:ext>
            </a:extLst>
          </p:cNvPr>
          <p:cNvGrpSpPr/>
          <p:nvPr userDrawn="1"/>
        </p:nvGrpSpPr>
        <p:grpSpPr>
          <a:xfrm>
            <a:off x="9507912" y="0"/>
            <a:ext cx="1826837" cy="5143500"/>
            <a:chOff x="12455525" y="0"/>
            <a:chExt cx="2432456" cy="6858000"/>
          </a:xfrm>
        </p:grpSpPr>
        <p:sp>
          <p:nvSpPr>
            <p:cNvPr id="27" name="Rectangle 26">
              <a:extLst>
                <a:ext uri="{FF2B5EF4-FFF2-40B4-BE49-F238E27FC236}">
                  <a16:creationId xmlns:a16="http://schemas.microsoft.com/office/drawing/2014/main" id="{346B5D9B-2F2B-4A5D-90DF-9BCBBD939B81}"/>
                </a:ext>
              </a:extLst>
            </p:cNvPr>
            <p:cNvSpPr/>
            <p:nvPr/>
          </p:nvSpPr>
          <p:spPr>
            <a:xfrm>
              <a:off x="12455525" y="0"/>
              <a:ext cx="2432456"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de-DE" sz="1100" b="1" noProof="0" dirty="0">
                  <a:solidFill>
                    <a:schemeClr val="tx1"/>
                  </a:solidFill>
                  <a:latin typeface="+mn-lt"/>
                </a:rPr>
                <a:t>Hinweis zum </a:t>
              </a:r>
              <a:br>
                <a:rPr lang="de-DE" sz="1100" b="1" noProof="0" dirty="0">
                  <a:solidFill>
                    <a:schemeClr val="tx1"/>
                  </a:solidFill>
                  <a:latin typeface="+mn-lt"/>
                </a:rPr>
              </a:br>
              <a:r>
                <a:rPr lang="de-DE" sz="1100" b="1" noProof="0" dirty="0">
                  <a:solidFill>
                    <a:schemeClr val="tx1"/>
                  </a:solidFill>
                  <a:latin typeface="+mn-lt"/>
                </a:rPr>
                <a:t>schnellen Formatieren von Texten: </a:t>
              </a: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br>
                <a:rPr lang="de-DE" sz="1100" b="1" noProof="0" dirty="0">
                  <a:solidFill>
                    <a:schemeClr val="tx1"/>
                  </a:solidFill>
                  <a:latin typeface="+mn-lt"/>
                </a:rPr>
              </a:br>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r>
                <a:rPr lang="de-DE" sz="1100" b="1" noProof="0" dirty="0">
                  <a:solidFill>
                    <a:schemeClr val="tx1"/>
                  </a:solidFill>
                  <a:latin typeface="+mn-lt"/>
                </a:rPr>
                <a:t>Absatz-Zeichen</a:t>
              </a:r>
              <a:r>
                <a:rPr lang="de-DE" sz="1100" b="0" noProof="0" dirty="0">
                  <a:solidFill>
                    <a:schemeClr val="tx1"/>
                  </a:solidFill>
                  <a:latin typeface="+mn-lt"/>
                </a:rPr>
                <a:t> nutzen, um zwischen diesen vorprogrammierten Textebenen zu wechseln: </a:t>
              </a:r>
            </a:p>
          </p:txBody>
        </p:sp>
        <p:sp>
          <p:nvSpPr>
            <p:cNvPr id="28" name="Textplatzhalter 45">
              <a:extLst>
                <a:ext uri="{FF2B5EF4-FFF2-40B4-BE49-F238E27FC236}">
                  <a16:creationId xmlns:a16="http://schemas.microsoft.com/office/drawing/2014/main" id="{BFFB8594-6F69-42A4-BE1D-211EAAF1FDF8}"/>
                </a:ext>
              </a:extLst>
            </p:cNvPr>
            <p:cNvSpPr txBox="1">
              <a:spLocks/>
            </p:cNvSpPr>
            <p:nvPr/>
          </p:nvSpPr>
          <p:spPr>
            <a:xfrm>
              <a:off x="12623256" y="3829049"/>
              <a:ext cx="2097629" cy="2755900"/>
            </a:xfrm>
            <a:prstGeom prst="rect">
              <a:avLst/>
            </a:prstGeom>
            <a:solidFill>
              <a:schemeClr val="accent5"/>
            </a:solidFill>
          </p:spPr>
          <p:txBody>
            <a:bodyPr vert="horz" wrap="none"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25425" lvl="0" indent="-225425" algn="l" defTabSz="914400" rtl="0" eaLnBrk="1" latinLnBrk="0" hangingPunct="1">
                <a:lnSpc>
                  <a:spcPct val="100000"/>
                </a:lnSpc>
                <a:spcBef>
                  <a:spcPts val="0"/>
                </a:spcBef>
                <a:spcAft>
                  <a:spcPts val="800"/>
                </a:spcAft>
                <a:buClr>
                  <a:schemeClr val="bg1"/>
                </a:buClr>
                <a:buSzPct val="110000"/>
                <a:buFont typeface="Arial" panose="020B0604020202020204" pitchFamily="34" charset="0"/>
                <a:buChar char="•"/>
              </a:pPr>
              <a:r>
                <a:rPr lang="de-DE" sz="1400" kern="1200" noProof="0" dirty="0">
                  <a:solidFill>
                    <a:schemeClr val="bg1"/>
                  </a:solidFill>
                  <a:latin typeface="+mn-lt"/>
                  <a:ea typeface="+mn-ea"/>
                  <a:cs typeface="+mn-cs"/>
                </a:rPr>
                <a:t>Erste Ebene</a:t>
              </a:r>
            </a:p>
            <a:p>
              <a:pPr marL="457200" lvl="1" indent="-225425" algn="l" defTabSz="914400" rtl="0" eaLnBrk="1" latinLnBrk="0" hangingPunct="1">
                <a:lnSpc>
                  <a:spcPct val="100000"/>
                </a:lnSpc>
                <a:spcBef>
                  <a:spcPts val="0"/>
                </a:spcBef>
                <a:spcAft>
                  <a:spcPts val="800"/>
                </a:spcAft>
                <a:buClr>
                  <a:schemeClr val="bg1"/>
                </a:buClr>
                <a:buSzPct val="110000"/>
                <a:buFont typeface="+mj-lt"/>
                <a:buAutoNum type="arabicPeriod"/>
              </a:pPr>
              <a:r>
                <a:rPr lang="de-DE" sz="1400" kern="1200" noProof="0" dirty="0">
                  <a:solidFill>
                    <a:schemeClr val="bg1"/>
                  </a:solidFill>
                  <a:latin typeface="+mn-lt"/>
                  <a:ea typeface="+mn-ea"/>
                  <a:cs typeface="+mn-cs"/>
                </a:rPr>
                <a:t>Zweite Ebene</a:t>
              </a:r>
            </a:p>
            <a:p>
              <a:pPr marL="685800" lvl="2" indent="-225425" algn="l" defTabSz="914400" rtl="0" eaLnBrk="1" latinLnBrk="0" hangingPunct="1">
                <a:lnSpc>
                  <a:spcPct val="100000"/>
                </a:lnSpc>
                <a:spcBef>
                  <a:spcPts val="0"/>
                </a:spcBef>
                <a:spcAft>
                  <a:spcPts val="800"/>
                </a:spcAft>
                <a:buClr>
                  <a:schemeClr val="bg1"/>
                </a:buClr>
                <a:buSzPct val="110000"/>
                <a:buFont typeface="+mj-lt"/>
                <a:buAutoNum type="alphaLcPeriod"/>
              </a:pPr>
              <a:r>
                <a:rPr lang="de-DE" sz="1400" b="0" kern="1200" noProof="0" dirty="0">
                  <a:solidFill>
                    <a:schemeClr val="bg1"/>
                  </a:solidFill>
                  <a:latin typeface="+mn-lt"/>
                  <a:ea typeface="+mn-ea"/>
                  <a:cs typeface="+mn-cs"/>
                </a:rPr>
                <a:t>Dritte Ebene</a:t>
              </a:r>
            </a:p>
            <a:p>
              <a:pPr marL="0" lvl="3"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kern="1200" noProof="0" dirty="0">
                  <a:solidFill>
                    <a:schemeClr val="bg1"/>
                  </a:solidFill>
                  <a:latin typeface="+mn-lt"/>
                  <a:ea typeface="+mn-ea"/>
                  <a:cs typeface="+mn-cs"/>
                </a:rPr>
                <a:t>Vierte Ebene</a:t>
              </a:r>
            </a:p>
            <a:p>
              <a:pPr marL="0" lvl="4"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b="1" kern="1200" noProof="0" dirty="0">
                  <a:solidFill>
                    <a:schemeClr val="bg1"/>
                  </a:solidFill>
                  <a:latin typeface="+mn-lt"/>
                  <a:ea typeface="+mn-ea"/>
                  <a:cs typeface="+mn-cs"/>
                </a:rPr>
                <a:t>Fünfte Ebene</a:t>
              </a:r>
            </a:p>
          </p:txBody>
        </p:sp>
        <p:grpSp>
          <p:nvGrpSpPr>
            <p:cNvPr id="29" name="Group 28">
              <a:extLst>
                <a:ext uri="{FF2B5EF4-FFF2-40B4-BE49-F238E27FC236}">
                  <a16:creationId xmlns:a16="http://schemas.microsoft.com/office/drawing/2014/main" id="{19658161-FD3C-41A0-B76D-9E81391ACF84}"/>
                </a:ext>
              </a:extLst>
            </p:cNvPr>
            <p:cNvGrpSpPr/>
            <p:nvPr/>
          </p:nvGrpSpPr>
          <p:grpSpPr>
            <a:xfrm>
              <a:off x="12656430" y="1089171"/>
              <a:ext cx="1584137" cy="987131"/>
              <a:chOff x="3838574" y="-1487553"/>
              <a:chExt cx="1819275" cy="1133654"/>
            </a:xfrm>
          </p:grpSpPr>
          <p:pic>
            <p:nvPicPr>
              <p:cNvPr id="36" name="Picture 35">
                <a:extLst>
                  <a:ext uri="{FF2B5EF4-FFF2-40B4-BE49-F238E27FC236}">
                    <a16:creationId xmlns:a16="http://schemas.microsoft.com/office/drawing/2014/main" id="{ED2771E2-7D63-4B9F-8838-4D3A1D78E8B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838574" y="-1487553"/>
                <a:ext cx="1819275" cy="1133654"/>
              </a:xfrm>
              <a:prstGeom prst="rect">
                <a:avLst/>
              </a:prstGeom>
              <a:ln>
                <a:solidFill>
                  <a:schemeClr val="tx1"/>
                </a:solidFill>
              </a:ln>
            </p:spPr>
          </p:pic>
          <p:pic>
            <p:nvPicPr>
              <p:cNvPr id="37" name="Picture 36">
                <a:extLst>
                  <a:ext uri="{FF2B5EF4-FFF2-40B4-BE49-F238E27FC236}">
                    <a16:creationId xmlns:a16="http://schemas.microsoft.com/office/drawing/2014/main" id="{3D378074-510B-4DA5-AF26-F6F57D197E3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838574" y="-1197759"/>
                <a:ext cx="1758949" cy="843860"/>
              </a:xfrm>
              <a:prstGeom prst="rect">
                <a:avLst/>
              </a:prstGeom>
            </p:spPr>
          </p:pic>
          <p:sp>
            <p:nvSpPr>
              <p:cNvPr id="38" name="Rectangle 37">
                <a:extLst>
                  <a:ext uri="{FF2B5EF4-FFF2-40B4-BE49-F238E27FC236}">
                    <a16:creationId xmlns:a16="http://schemas.microsoft.com/office/drawing/2014/main" id="{F7296CD8-A136-4DF0-9F70-24C8624FDEEA}"/>
                  </a:ext>
                </a:extLst>
              </p:cNvPr>
              <p:cNvSpPr/>
              <p:nvPr userDrawn="1"/>
            </p:nvSpPr>
            <p:spPr>
              <a:xfrm>
                <a:off x="5517931" y="-1487553"/>
                <a:ext cx="139917" cy="983056"/>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grpSp>
        <p:sp>
          <p:nvSpPr>
            <p:cNvPr id="30" name="Oval 29">
              <a:extLst>
                <a:ext uri="{FF2B5EF4-FFF2-40B4-BE49-F238E27FC236}">
                  <a16:creationId xmlns:a16="http://schemas.microsoft.com/office/drawing/2014/main" id="{BE657137-9E1B-4B03-B417-A14B4C4667D8}"/>
                </a:ext>
              </a:extLst>
            </p:cNvPr>
            <p:cNvSpPr/>
            <p:nvPr/>
          </p:nvSpPr>
          <p:spPr>
            <a:xfrm>
              <a:off x="13370810" y="1243451"/>
              <a:ext cx="407914" cy="407914"/>
            </a:xfrm>
            <a:prstGeom prst="ellipse">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sp>
          <p:nvSpPr>
            <p:cNvPr id="31" name="Arc 30">
              <a:extLst>
                <a:ext uri="{FF2B5EF4-FFF2-40B4-BE49-F238E27FC236}">
                  <a16:creationId xmlns:a16="http://schemas.microsoft.com/office/drawing/2014/main" id="{F4972A58-A885-4812-BE11-F533163B1B6A}"/>
                </a:ext>
              </a:extLst>
            </p:cNvPr>
            <p:cNvSpPr/>
            <p:nvPr/>
          </p:nvSpPr>
          <p:spPr>
            <a:xfrm rot="15649404">
              <a:off x="12562252" y="1598191"/>
              <a:ext cx="2019300" cy="1666765"/>
            </a:xfrm>
            <a:prstGeom prst="arc">
              <a:avLst>
                <a:gd name="adj1" fmla="val 16676483"/>
                <a:gd name="adj2" fmla="val 0"/>
              </a:avLst>
            </a:prstGeom>
            <a:ln w="28575">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100" noProof="0" dirty="0">
                <a:latin typeface="+mn-lt"/>
              </a:endParaRPr>
            </a:p>
          </p:txBody>
        </p:sp>
        <p:sp>
          <p:nvSpPr>
            <p:cNvPr id="32" name="TextBox 31">
              <a:extLst>
                <a:ext uri="{FF2B5EF4-FFF2-40B4-BE49-F238E27FC236}">
                  <a16:creationId xmlns:a16="http://schemas.microsoft.com/office/drawing/2014/main" id="{5FAF45BE-41E1-4E3B-8756-2BDDC697D436}"/>
                </a:ext>
              </a:extLst>
            </p:cNvPr>
            <p:cNvSpPr txBox="1"/>
            <p:nvPr/>
          </p:nvSpPr>
          <p:spPr>
            <a:xfrm>
              <a:off x="12666422"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Start</a:t>
              </a:r>
            </a:p>
          </p:txBody>
        </p:sp>
        <p:sp>
          <p:nvSpPr>
            <p:cNvPr id="33" name="TextBox 32">
              <a:extLst>
                <a:ext uri="{FF2B5EF4-FFF2-40B4-BE49-F238E27FC236}">
                  <a16:creationId xmlns:a16="http://schemas.microsoft.com/office/drawing/2014/main" id="{73049874-CC28-467B-87E4-29A64416F20C}"/>
                </a:ext>
              </a:extLst>
            </p:cNvPr>
            <p:cNvSpPr txBox="1"/>
            <p:nvPr/>
          </p:nvSpPr>
          <p:spPr>
            <a:xfrm>
              <a:off x="13167679"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infügen</a:t>
              </a:r>
            </a:p>
          </p:txBody>
        </p:sp>
        <p:sp>
          <p:nvSpPr>
            <p:cNvPr id="34" name="TextBox 33">
              <a:extLst>
                <a:ext uri="{FF2B5EF4-FFF2-40B4-BE49-F238E27FC236}">
                  <a16:creationId xmlns:a16="http://schemas.microsoft.com/office/drawing/2014/main" id="{0382CD68-773C-4DB7-AF05-D3D0F8BDC046}"/>
                </a:ext>
              </a:extLst>
            </p:cNvPr>
            <p:cNvSpPr txBox="1"/>
            <p:nvPr/>
          </p:nvSpPr>
          <p:spPr>
            <a:xfrm>
              <a:off x="13706533"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ntwurf</a:t>
              </a:r>
            </a:p>
          </p:txBody>
        </p:sp>
        <p:sp>
          <p:nvSpPr>
            <p:cNvPr id="35" name="TextBox 34">
              <a:extLst>
                <a:ext uri="{FF2B5EF4-FFF2-40B4-BE49-F238E27FC236}">
                  <a16:creationId xmlns:a16="http://schemas.microsoft.com/office/drawing/2014/main" id="{0DAC7C1D-7BA6-4DDD-8E4B-5A5C972E2C17}"/>
                </a:ext>
              </a:extLst>
            </p:cNvPr>
            <p:cNvSpPr txBox="1"/>
            <p:nvPr/>
          </p:nvSpPr>
          <p:spPr>
            <a:xfrm>
              <a:off x="13662625" y="1929226"/>
              <a:ext cx="546374" cy="136662"/>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Absatz</a:t>
              </a:r>
            </a:p>
          </p:txBody>
        </p:sp>
      </p:grpSp>
    </p:spTree>
    <p:extLst>
      <p:ext uri="{BB962C8B-B14F-4D97-AF65-F5344CB8AC3E}">
        <p14:creationId xmlns:p14="http://schemas.microsoft.com/office/powerpoint/2010/main" val="1628761820"/>
      </p:ext>
    </p:extLst>
  </p:cSld>
  <p:clrMapOvr>
    <a:masterClrMapping/>
  </p:clrMapOvr>
  <p:extLst>
    <p:ext uri="{DCECCB84-F9BA-43D5-87BE-67443E8EF086}">
      <p15:sldGuideLst xmlns:p15="http://schemas.microsoft.com/office/powerpoint/2012/main">
        <p15:guide id="1" pos="231" userDrawn="1">
          <p15:clr>
            <a:srgbClr val="F26B43"/>
          </p15:clr>
        </p15:guide>
        <p15:guide id="2" orient="horz" pos="648">
          <p15:clr>
            <a:srgbClr val="F26B43"/>
          </p15:clr>
        </p15:guide>
        <p15:guide id="3" orient="horz" pos="3111" userDrawn="1">
          <p15:clr>
            <a:srgbClr val="F26B43"/>
          </p15:clr>
        </p15:guide>
        <p15:guide id="5" orient="horz" pos="389">
          <p15:clr>
            <a:srgbClr val="F26B43"/>
          </p15:clr>
        </p15:guide>
        <p15:guide id="6" pos="2880"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mit BI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B55E966-152B-4155-BC8B-37B3DB47884B}"/>
              </a:ext>
            </a:extLst>
          </p:cNvPr>
          <p:cNvGraphicFramePr>
            <a:graphicFrameLocks noChangeAspect="1"/>
          </p:cNvGraphicFramePr>
          <p:nvPr userDrawn="1">
            <p:custDataLst>
              <p:tags r:id="rId2"/>
            </p:custDataLst>
            <p:extLst>
              <p:ext uri="{D42A27DB-BD31-4B8C-83A1-F6EECF244321}">
                <p14:modId xmlns:p14="http://schemas.microsoft.com/office/powerpoint/2010/main" val="1188695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37"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B55E966-152B-4155-BC8B-37B3DB4788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1E3A9B83-3E6C-4FA6-8A6D-141FA573243B}"/>
              </a:ext>
            </a:extLst>
          </p:cNvPr>
          <p:cNvSpPr>
            <a:spLocks noGrp="1"/>
          </p:cNvSpPr>
          <p:nvPr>
            <p:ph type="pic" sz="quarter" idx="18" hasCustomPrompt="1"/>
          </p:nvPr>
        </p:nvSpPr>
        <p:spPr>
          <a:xfrm>
            <a:off x="0" y="617538"/>
            <a:ext cx="9144000" cy="4525962"/>
          </a:xfrm>
          <a:prstGeom prst="rect">
            <a:avLst/>
          </a:prstGeom>
          <a:solidFill>
            <a:schemeClr val="bg1">
              <a:lumMod val="85000"/>
            </a:schemeClr>
          </a:solidFill>
        </p:spPr>
        <p:txBody>
          <a:bodyPr wrap="square" lIns="0" rIns="0" anchor="ctr">
            <a:noAutofit/>
          </a:bodyPr>
          <a:lstStyle>
            <a:lvl1pPr marL="0" indent="0" algn="ctr" rtl="0">
              <a:buNone/>
              <a:defRPr/>
            </a:lvl1pPr>
          </a:lstStyle>
          <a:p>
            <a:r>
              <a:rPr lang="de-DE" dirty="0"/>
              <a:t>Bild hinzufügen</a:t>
            </a:r>
          </a:p>
        </p:txBody>
      </p:sp>
      <p:sp>
        <p:nvSpPr>
          <p:cNvPr id="2" name="Title 1">
            <a:extLst>
              <a:ext uri="{FF2B5EF4-FFF2-40B4-BE49-F238E27FC236}">
                <a16:creationId xmlns:a16="http://schemas.microsoft.com/office/drawing/2014/main" id="{FA37A3E9-4AC7-40AB-9175-27E504FE91D6}"/>
              </a:ext>
            </a:extLst>
          </p:cNvPr>
          <p:cNvSpPr>
            <a:spLocks noGrp="1"/>
          </p:cNvSpPr>
          <p:nvPr>
            <p:ph type="title" hasCustomPrompt="1"/>
          </p:nvPr>
        </p:nvSpPr>
        <p:spPr>
          <a:xfrm>
            <a:off x="731839" y="83994"/>
            <a:ext cx="6216649" cy="533543"/>
          </a:xfrm>
        </p:spPr>
        <p:txBody>
          <a:bodyPr vert="horz"/>
          <a:lstStyle>
            <a:lvl1pPr rtl="0">
              <a:defRPr/>
            </a:lvl1pPr>
          </a:lstStyle>
          <a:p>
            <a:r>
              <a:rPr lang="de-DE" noProof="0" dirty="0"/>
              <a:t>Titel </a:t>
            </a:r>
            <a:br>
              <a:rPr lang="de-DE" noProof="0" dirty="0"/>
            </a:br>
            <a:r>
              <a:rPr lang="de-DE" noProof="0" dirty="0"/>
              <a:t>hinzufügen</a:t>
            </a:r>
            <a:endParaRPr lang="de-DE" dirty="0"/>
          </a:p>
        </p:txBody>
      </p:sp>
      <p:sp>
        <p:nvSpPr>
          <p:cNvPr id="6" name="Slide Number Placeholder 5">
            <a:extLst>
              <a:ext uri="{FF2B5EF4-FFF2-40B4-BE49-F238E27FC236}">
                <a16:creationId xmlns:a16="http://schemas.microsoft.com/office/drawing/2014/main" id="{944DA456-96F7-4E88-B5F0-01FD9C0599E9}"/>
              </a:ext>
            </a:extLst>
          </p:cNvPr>
          <p:cNvSpPr>
            <a:spLocks noGrp="1"/>
          </p:cNvSpPr>
          <p:nvPr>
            <p:ph type="sldNum" sz="quarter" idx="12"/>
          </p:nvPr>
        </p:nvSpPr>
        <p:spPr/>
        <p:txBody>
          <a:bodyPr/>
          <a:lstStyle>
            <a:lvl1pPr rtl="0">
              <a:defRPr>
                <a:solidFill>
                  <a:schemeClr val="tx1"/>
                </a:solidFill>
              </a:defRPr>
            </a:lvl1pPr>
          </a:lstStyle>
          <a:p>
            <a:fld id="{61A237A4-5F56-495D-ADE9-563CDE6DCB6B}" type="slidenum">
              <a:rPr lang="de-DE" smtClean="0"/>
              <a:pPr/>
              <a:t>‹Nr.›</a:t>
            </a:fld>
            <a:endParaRPr lang="de-DE" dirty="0"/>
          </a:p>
        </p:txBody>
      </p:sp>
      <p:sp>
        <p:nvSpPr>
          <p:cNvPr id="21" name="Text Placeholder 9">
            <a:extLst>
              <a:ext uri="{FF2B5EF4-FFF2-40B4-BE49-F238E27FC236}">
                <a16:creationId xmlns:a16="http://schemas.microsoft.com/office/drawing/2014/main" id="{B4B60243-B22D-4DE0-8846-1532F903A022}"/>
              </a:ext>
            </a:extLst>
          </p:cNvPr>
          <p:cNvSpPr>
            <a:spLocks noGrp="1"/>
          </p:cNvSpPr>
          <p:nvPr>
            <p:ph type="body" sz="quarter" idx="14" hasCustomPrompt="1"/>
          </p:nvPr>
        </p:nvSpPr>
        <p:spPr>
          <a:xfrm>
            <a:off x="1098550" y="4938713"/>
            <a:ext cx="7678290" cy="204787"/>
          </a:xfrm>
        </p:spPr>
        <p:txBody>
          <a:bodyPr anchor="ctr">
            <a:noAutofit/>
          </a:bodyPr>
          <a:lstStyle>
            <a:lvl1pPr marL="0" indent="0" rtl="0">
              <a:spcAft>
                <a:spcPts val="0"/>
              </a:spcAft>
              <a:buNone/>
              <a:defRPr sz="600">
                <a:solidFill>
                  <a:schemeClr val="tx1"/>
                </a:solidFill>
              </a:defRPr>
            </a:lvl1pPr>
            <a:lvl2pPr marL="0" indent="0">
              <a:spcAft>
                <a:spcPts val="0"/>
              </a:spcAft>
              <a:buFont typeface="Arial" panose="020B0604020202020204" pitchFamily="34" charset="0"/>
              <a:buNone/>
              <a:defRPr sz="600"/>
            </a:lvl2pPr>
            <a:lvl3pPr marL="0" indent="0">
              <a:spcAft>
                <a:spcPts val="0"/>
              </a:spcAft>
              <a:buFont typeface="Arial" panose="020B0604020202020204" pitchFamily="34" charset="0"/>
              <a:buNone/>
              <a:defRPr sz="600"/>
            </a:lvl3pPr>
          </a:lstStyle>
          <a:p>
            <a:pPr lvl="0"/>
            <a:r>
              <a:rPr lang="de-DE" noProof="0" dirty="0"/>
              <a:t>Quelle: </a:t>
            </a:r>
          </a:p>
        </p:txBody>
      </p:sp>
    </p:spTree>
    <p:extLst>
      <p:ext uri="{BB962C8B-B14F-4D97-AF65-F5344CB8AC3E}">
        <p14:creationId xmlns:p14="http://schemas.microsoft.com/office/powerpoint/2010/main" val="2007953862"/>
      </p:ext>
    </p:extLst>
  </p:cSld>
  <p:clrMapOvr>
    <a:masterClrMapping/>
  </p:clrMapOvr>
  <p:extLst>
    <p:ext uri="{DCECCB84-F9BA-43D5-87BE-67443E8EF086}">
      <p15:sldGuideLst xmlns:p15="http://schemas.microsoft.com/office/powerpoint/2012/main">
        <p15:guide id="3" orient="horz" pos="3111" userDrawn="1">
          <p15:clr>
            <a:srgbClr val="F26B43"/>
          </p15:clr>
        </p15:guide>
        <p15:guide id="5" orient="horz" pos="389">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ur Bi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B55E966-152B-4155-BC8B-37B3DB47884B}"/>
              </a:ext>
            </a:extLst>
          </p:cNvPr>
          <p:cNvGraphicFramePr>
            <a:graphicFrameLocks noChangeAspect="1"/>
          </p:cNvGraphicFramePr>
          <p:nvPr userDrawn="1">
            <p:custDataLst>
              <p:tags r:id="rId2"/>
            </p:custDataLst>
            <p:extLst>
              <p:ext uri="{D42A27DB-BD31-4B8C-83A1-F6EECF244321}">
                <p14:modId xmlns:p14="http://schemas.microsoft.com/office/powerpoint/2010/main" val="2390615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58"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B55E966-152B-4155-BC8B-37B3DB4788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57E1BBE2-A2D6-4FE2-99D9-8EE0E215E48A}"/>
              </a:ext>
            </a:extLst>
          </p:cNvPr>
          <p:cNvSpPr>
            <a:spLocks noGrp="1"/>
          </p:cNvSpPr>
          <p:nvPr>
            <p:ph type="pic" sz="quarter" idx="18" hasCustomPrompt="1"/>
          </p:nvPr>
        </p:nvSpPr>
        <p:spPr>
          <a:xfrm>
            <a:off x="0" y="0"/>
            <a:ext cx="9144000" cy="5143500"/>
          </a:xfrm>
          <a:custGeom>
            <a:avLst/>
            <a:gdLst>
              <a:gd name="connsiteX0" fmla="*/ 366713 w 9144000"/>
              <a:gd name="connsiteY0" fmla="*/ 0 h 5143500"/>
              <a:gd name="connsiteX1" fmla="*/ 6565900 w 9144000"/>
              <a:gd name="connsiteY1" fmla="*/ 0 h 5143500"/>
              <a:gd name="connsiteX2" fmla="*/ 7513547 w 9144000"/>
              <a:gd name="connsiteY2" fmla="*/ 0 h 5143500"/>
              <a:gd name="connsiteX3" fmla="*/ 8778239 w 9144000"/>
              <a:gd name="connsiteY3" fmla="*/ 0 h 5143500"/>
              <a:gd name="connsiteX4" fmla="*/ 8978900 w 9144000"/>
              <a:gd name="connsiteY4" fmla="*/ 0 h 5143500"/>
              <a:gd name="connsiteX5" fmla="*/ 9144000 w 9144000"/>
              <a:gd name="connsiteY5" fmla="*/ 0 h 5143500"/>
              <a:gd name="connsiteX6" fmla="*/ 9144000 w 9144000"/>
              <a:gd name="connsiteY6" fmla="*/ 5143500 h 5143500"/>
              <a:gd name="connsiteX7" fmla="*/ 0 w 9144000"/>
              <a:gd name="connsiteY7" fmla="*/ 5143500 h 5143500"/>
              <a:gd name="connsiteX8" fmla="*/ 0 w 9144000"/>
              <a:gd name="connsiteY8" fmla="*/ 204789 h 5143500"/>
              <a:gd name="connsiteX9" fmla="*/ 366713 w 9144000"/>
              <a:gd name="connsiteY9" fmla="*/ 20478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5143500">
                <a:moveTo>
                  <a:pt x="366713" y="0"/>
                </a:moveTo>
                <a:lnTo>
                  <a:pt x="6565900" y="0"/>
                </a:lnTo>
                <a:lnTo>
                  <a:pt x="7513547" y="0"/>
                </a:lnTo>
                <a:lnTo>
                  <a:pt x="8778239" y="0"/>
                </a:lnTo>
                <a:lnTo>
                  <a:pt x="8978900" y="0"/>
                </a:lnTo>
                <a:lnTo>
                  <a:pt x="9144000" y="0"/>
                </a:lnTo>
                <a:lnTo>
                  <a:pt x="9144000" y="5143500"/>
                </a:lnTo>
                <a:lnTo>
                  <a:pt x="0" y="5143500"/>
                </a:lnTo>
                <a:lnTo>
                  <a:pt x="0" y="204789"/>
                </a:lnTo>
                <a:lnTo>
                  <a:pt x="366713" y="204789"/>
                </a:lnTo>
                <a:close/>
              </a:path>
            </a:pathLst>
          </a:custGeom>
          <a:solidFill>
            <a:schemeClr val="bg1">
              <a:lumMod val="85000"/>
            </a:schemeClr>
          </a:solidFill>
        </p:spPr>
        <p:txBody>
          <a:bodyPr wrap="square" lIns="0" rIns="0" anchor="ctr">
            <a:noAutofit/>
          </a:bodyPr>
          <a:lstStyle>
            <a:lvl1pPr marL="0" indent="0" algn="ctr" rtl="0">
              <a:buNone/>
              <a:defRPr/>
            </a:lvl1pPr>
          </a:lstStyle>
          <a:p>
            <a:r>
              <a:rPr lang="de-DE" dirty="0"/>
              <a:t>Bild hinzufügen</a:t>
            </a:r>
          </a:p>
        </p:txBody>
      </p:sp>
      <p:sp>
        <p:nvSpPr>
          <p:cNvPr id="6" name="Slide Number Placeholder 5">
            <a:extLst>
              <a:ext uri="{FF2B5EF4-FFF2-40B4-BE49-F238E27FC236}">
                <a16:creationId xmlns:a16="http://schemas.microsoft.com/office/drawing/2014/main" id="{944DA456-96F7-4E88-B5F0-01FD9C0599E9}"/>
              </a:ext>
            </a:extLst>
          </p:cNvPr>
          <p:cNvSpPr>
            <a:spLocks noGrp="1"/>
          </p:cNvSpPr>
          <p:nvPr>
            <p:ph type="sldNum" sz="quarter" idx="12"/>
          </p:nvPr>
        </p:nvSpPr>
        <p:spPr/>
        <p:txBody>
          <a:bodyPr/>
          <a:lstStyle>
            <a:lvl1pPr rtl="0">
              <a:defRPr>
                <a:solidFill>
                  <a:schemeClr val="tx1"/>
                </a:solidFill>
              </a:defRPr>
            </a:lvl1pPr>
          </a:lstStyle>
          <a:p>
            <a:fld id="{61A237A4-5F56-495D-ADE9-563CDE6DCB6B}" type="slidenum">
              <a:rPr lang="de-DE" smtClean="0"/>
              <a:pPr/>
              <a:t>‹Nr.›</a:t>
            </a:fld>
            <a:endParaRPr lang="de-DE" dirty="0"/>
          </a:p>
        </p:txBody>
      </p:sp>
      <p:sp>
        <p:nvSpPr>
          <p:cNvPr id="21" name="Text Placeholder 9">
            <a:extLst>
              <a:ext uri="{FF2B5EF4-FFF2-40B4-BE49-F238E27FC236}">
                <a16:creationId xmlns:a16="http://schemas.microsoft.com/office/drawing/2014/main" id="{B4B60243-B22D-4DE0-8846-1532F903A022}"/>
              </a:ext>
            </a:extLst>
          </p:cNvPr>
          <p:cNvSpPr>
            <a:spLocks noGrp="1"/>
          </p:cNvSpPr>
          <p:nvPr>
            <p:ph type="body" sz="quarter" idx="14" hasCustomPrompt="1"/>
          </p:nvPr>
        </p:nvSpPr>
        <p:spPr>
          <a:xfrm>
            <a:off x="1098550" y="4938713"/>
            <a:ext cx="7678290" cy="204787"/>
          </a:xfrm>
        </p:spPr>
        <p:txBody>
          <a:bodyPr anchor="ctr">
            <a:noAutofit/>
          </a:bodyPr>
          <a:lstStyle>
            <a:lvl1pPr marL="0" indent="0" rtl="0">
              <a:spcAft>
                <a:spcPts val="0"/>
              </a:spcAft>
              <a:buNone/>
              <a:defRPr sz="600">
                <a:solidFill>
                  <a:schemeClr val="tx1"/>
                </a:solidFill>
              </a:defRPr>
            </a:lvl1pPr>
            <a:lvl2pPr marL="0" indent="0">
              <a:spcAft>
                <a:spcPts val="0"/>
              </a:spcAft>
              <a:buFont typeface="Arial" panose="020B0604020202020204" pitchFamily="34" charset="0"/>
              <a:buNone/>
              <a:defRPr sz="600"/>
            </a:lvl2pPr>
            <a:lvl3pPr marL="0" indent="0">
              <a:spcAft>
                <a:spcPts val="0"/>
              </a:spcAft>
              <a:buFont typeface="Arial" panose="020B0604020202020204" pitchFamily="34" charset="0"/>
              <a:buNone/>
              <a:defRPr sz="600"/>
            </a:lvl3pPr>
          </a:lstStyle>
          <a:p>
            <a:pPr lvl="0"/>
            <a:r>
              <a:rPr lang="de-DE" noProof="0" dirty="0"/>
              <a:t>Quelle: </a:t>
            </a:r>
          </a:p>
        </p:txBody>
      </p:sp>
    </p:spTree>
    <p:extLst>
      <p:ext uri="{BB962C8B-B14F-4D97-AF65-F5344CB8AC3E}">
        <p14:creationId xmlns:p14="http://schemas.microsoft.com/office/powerpoint/2010/main" val="1193152082"/>
      </p:ext>
    </p:extLst>
  </p:cSld>
  <p:clrMapOvr>
    <a:masterClrMapping/>
  </p:clrMapOvr>
  <p:extLst>
    <p:ext uri="{DCECCB84-F9BA-43D5-87BE-67443E8EF086}">
      <p15:sldGuideLst xmlns:p15="http://schemas.microsoft.com/office/powerpoint/2012/main">
        <p15:guide id="3" orient="horz" pos="3111"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hlussfolie  / Horizontale Ausrichtu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7AD15DB-6C5F-413D-A194-0EF2FCB322C4}"/>
              </a:ext>
            </a:extLst>
          </p:cNvPr>
          <p:cNvGraphicFramePr>
            <a:graphicFrameLocks noChangeAspect="1"/>
          </p:cNvGraphicFramePr>
          <p:nvPr userDrawn="1">
            <p:custDataLst>
              <p:tags r:id="rId2"/>
            </p:custDataLst>
            <p:extLst>
              <p:ext uri="{D42A27DB-BD31-4B8C-83A1-F6EECF244321}">
                <p14:modId xmlns:p14="http://schemas.microsoft.com/office/powerpoint/2010/main" val="280999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809"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87AD15DB-6C5F-413D-A194-0EF2FCB322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D8B961DD-BBAF-4D13-B4B1-680CC4F40972}"/>
              </a:ext>
            </a:extLst>
          </p:cNvPr>
          <p:cNvSpPr/>
          <p:nvPr/>
        </p:nvSpPr>
        <p:spPr>
          <a:xfrm flipV="1">
            <a:off x="7953376" y="2494851"/>
            <a:ext cx="775962" cy="775218"/>
          </a:xfrm>
          <a:prstGeom prst="rect">
            <a:avLst/>
          </a:prstGeom>
          <a:solidFill>
            <a:schemeClr val="accent6"/>
          </a:solidFill>
          <a:ln w="2251" cap="flat">
            <a:noFill/>
            <a:prstDash val="solid"/>
            <a:miter/>
          </a:ln>
        </p:spPr>
        <p:txBody>
          <a:bodyPr rtlCol="0" anchor="ctr"/>
          <a:lstStyle/>
          <a:p>
            <a:pPr rtl="0"/>
            <a:endParaRPr lang="de-DE" dirty="0"/>
          </a:p>
        </p:txBody>
      </p:sp>
      <p:sp>
        <p:nvSpPr>
          <p:cNvPr id="19" name="Rectangle 18">
            <a:extLst>
              <a:ext uri="{FF2B5EF4-FFF2-40B4-BE49-F238E27FC236}">
                <a16:creationId xmlns:a16="http://schemas.microsoft.com/office/drawing/2014/main" id="{719D4B57-968C-43EB-BB56-0830CBD57C00}"/>
              </a:ext>
            </a:extLst>
          </p:cNvPr>
          <p:cNvSpPr/>
          <p:nvPr/>
        </p:nvSpPr>
        <p:spPr>
          <a:xfrm flipV="1">
            <a:off x="548929" y="2509583"/>
            <a:ext cx="746472" cy="745754"/>
          </a:xfrm>
          <a:prstGeom prst="rect">
            <a:avLst/>
          </a:prstGeom>
          <a:solidFill>
            <a:schemeClr val="accent1"/>
          </a:solidFill>
          <a:ln w="2251" cap="flat">
            <a:noFill/>
            <a:prstDash val="solid"/>
            <a:miter/>
          </a:ln>
        </p:spPr>
        <p:txBody>
          <a:bodyPr rtlCol="0" anchor="ctr"/>
          <a:lstStyle/>
          <a:p>
            <a:pPr rtl="0"/>
            <a:endParaRPr lang="de-DE" dirty="0"/>
          </a:p>
        </p:txBody>
      </p:sp>
      <p:sp>
        <p:nvSpPr>
          <p:cNvPr id="23" name="Picture Placeholder 22">
            <a:extLst>
              <a:ext uri="{FF2B5EF4-FFF2-40B4-BE49-F238E27FC236}">
                <a16:creationId xmlns:a16="http://schemas.microsoft.com/office/drawing/2014/main" id="{477D3621-2777-4E25-979C-AD71A4E50017}"/>
              </a:ext>
            </a:extLst>
          </p:cNvPr>
          <p:cNvSpPr>
            <a:spLocks noGrp="1"/>
          </p:cNvSpPr>
          <p:nvPr>
            <p:ph type="pic" sz="quarter" idx="18" hasCustomPrompt="1"/>
          </p:nvPr>
        </p:nvSpPr>
        <p:spPr>
          <a:xfrm>
            <a:off x="0" y="0"/>
            <a:ext cx="9144000" cy="5143500"/>
          </a:xfrm>
          <a:custGeom>
            <a:avLst/>
            <a:gdLst>
              <a:gd name="connsiteX0" fmla="*/ 8341357 w 9144000"/>
              <a:gd name="connsiteY0" fmla="*/ 3061411 h 5143500"/>
              <a:gd name="connsiteX1" fmla="*/ 8290190 w 9144000"/>
              <a:gd name="connsiteY1" fmla="*/ 3112578 h 5143500"/>
              <a:gd name="connsiteX2" fmla="*/ 8341357 w 9144000"/>
              <a:gd name="connsiteY2" fmla="*/ 3163745 h 5143500"/>
              <a:gd name="connsiteX3" fmla="*/ 8392526 w 9144000"/>
              <a:gd name="connsiteY3" fmla="*/ 3112578 h 5143500"/>
              <a:gd name="connsiteX4" fmla="*/ 8341357 w 9144000"/>
              <a:gd name="connsiteY4" fmla="*/ 3061411 h 5143500"/>
              <a:gd name="connsiteX5" fmla="*/ 8571745 w 9144000"/>
              <a:gd name="connsiteY5" fmla="*/ 2831294 h 5143500"/>
              <a:gd name="connsiteX6" fmla="*/ 8520578 w 9144000"/>
              <a:gd name="connsiteY6" fmla="*/ 2882461 h 5143500"/>
              <a:gd name="connsiteX7" fmla="*/ 8571745 w 9144000"/>
              <a:gd name="connsiteY7" fmla="*/ 2933628 h 5143500"/>
              <a:gd name="connsiteX8" fmla="*/ 8622912 w 9144000"/>
              <a:gd name="connsiteY8" fmla="*/ 2882461 h 5143500"/>
              <a:gd name="connsiteX9" fmla="*/ 8571745 w 9144000"/>
              <a:gd name="connsiteY9" fmla="*/ 2831294 h 5143500"/>
              <a:gd name="connsiteX10" fmla="*/ 8110968 w 9144000"/>
              <a:gd name="connsiteY10" fmla="*/ 2831294 h 5143500"/>
              <a:gd name="connsiteX11" fmla="*/ 8059801 w 9144000"/>
              <a:gd name="connsiteY11" fmla="*/ 2882461 h 5143500"/>
              <a:gd name="connsiteX12" fmla="*/ 8110968 w 9144000"/>
              <a:gd name="connsiteY12" fmla="*/ 2933628 h 5143500"/>
              <a:gd name="connsiteX13" fmla="*/ 8162135 w 9144000"/>
              <a:gd name="connsiteY13" fmla="*/ 2882461 h 5143500"/>
              <a:gd name="connsiteX14" fmla="*/ 8110968 w 9144000"/>
              <a:gd name="connsiteY14" fmla="*/ 2831294 h 5143500"/>
              <a:gd name="connsiteX15" fmla="*/ 8341428 w 9144000"/>
              <a:gd name="connsiteY15" fmla="*/ 2722546 h 5143500"/>
              <a:gd name="connsiteX16" fmla="*/ 8290261 w 9144000"/>
              <a:gd name="connsiteY16" fmla="*/ 2773711 h 5143500"/>
              <a:gd name="connsiteX17" fmla="*/ 8290261 w 9144000"/>
              <a:gd name="connsiteY17" fmla="*/ 2780103 h 5143500"/>
              <a:gd name="connsiteX18" fmla="*/ 8239094 w 9144000"/>
              <a:gd name="connsiteY18" fmla="*/ 2831270 h 5143500"/>
              <a:gd name="connsiteX19" fmla="*/ 8232697 w 9144000"/>
              <a:gd name="connsiteY19" fmla="*/ 2831272 h 5143500"/>
              <a:gd name="connsiteX20" fmla="*/ 8181530 w 9144000"/>
              <a:gd name="connsiteY20" fmla="*/ 2882439 h 5143500"/>
              <a:gd name="connsiteX21" fmla="*/ 8232697 w 9144000"/>
              <a:gd name="connsiteY21" fmla="*/ 2933606 h 5143500"/>
              <a:gd name="connsiteX22" fmla="*/ 8239094 w 9144000"/>
              <a:gd name="connsiteY22" fmla="*/ 2933606 h 5143500"/>
              <a:gd name="connsiteX23" fmla="*/ 8290261 w 9144000"/>
              <a:gd name="connsiteY23" fmla="*/ 2984773 h 5143500"/>
              <a:gd name="connsiteX24" fmla="*/ 8290261 w 9144000"/>
              <a:gd name="connsiteY24" fmla="*/ 2991165 h 5143500"/>
              <a:gd name="connsiteX25" fmla="*/ 8341428 w 9144000"/>
              <a:gd name="connsiteY25" fmla="*/ 3042334 h 5143500"/>
              <a:gd name="connsiteX26" fmla="*/ 8392597 w 9144000"/>
              <a:gd name="connsiteY26" fmla="*/ 2991165 h 5143500"/>
              <a:gd name="connsiteX27" fmla="*/ 8392597 w 9144000"/>
              <a:gd name="connsiteY27" fmla="*/ 2984773 h 5143500"/>
              <a:gd name="connsiteX28" fmla="*/ 8443766 w 9144000"/>
              <a:gd name="connsiteY28" fmla="*/ 2933606 h 5143500"/>
              <a:gd name="connsiteX29" fmla="*/ 8450156 w 9144000"/>
              <a:gd name="connsiteY29" fmla="*/ 2933606 h 5143500"/>
              <a:gd name="connsiteX30" fmla="*/ 8501325 w 9144000"/>
              <a:gd name="connsiteY30" fmla="*/ 2882439 h 5143500"/>
              <a:gd name="connsiteX31" fmla="*/ 8450156 w 9144000"/>
              <a:gd name="connsiteY31" fmla="*/ 2831272 h 5143500"/>
              <a:gd name="connsiteX32" fmla="*/ 8443766 w 9144000"/>
              <a:gd name="connsiteY32" fmla="*/ 2831272 h 5143500"/>
              <a:gd name="connsiteX33" fmla="*/ 8392597 w 9144000"/>
              <a:gd name="connsiteY33" fmla="*/ 2780103 h 5143500"/>
              <a:gd name="connsiteX34" fmla="*/ 8392597 w 9144000"/>
              <a:gd name="connsiteY34" fmla="*/ 2773711 h 5143500"/>
              <a:gd name="connsiteX35" fmla="*/ 8341428 w 9144000"/>
              <a:gd name="connsiteY35" fmla="*/ 2722546 h 5143500"/>
              <a:gd name="connsiteX36" fmla="*/ 8341357 w 9144000"/>
              <a:gd name="connsiteY36" fmla="*/ 2601175 h 5143500"/>
              <a:gd name="connsiteX37" fmla="*/ 8290190 w 9144000"/>
              <a:gd name="connsiteY37" fmla="*/ 2652342 h 5143500"/>
              <a:gd name="connsiteX38" fmla="*/ 8341357 w 9144000"/>
              <a:gd name="connsiteY38" fmla="*/ 2703509 h 5143500"/>
              <a:gd name="connsiteX39" fmla="*/ 8392526 w 9144000"/>
              <a:gd name="connsiteY39" fmla="*/ 2652342 h 5143500"/>
              <a:gd name="connsiteX40" fmla="*/ 8341357 w 9144000"/>
              <a:gd name="connsiteY40" fmla="*/ 2601175 h 5143500"/>
              <a:gd name="connsiteX41" fmla="*/ 366713 w 9144000"/>
              <a:gd name="connsiteY41" fmla="*/ 0 h 5143500"/>
              <a:gd name="connsiteX42" fmla="*/ 7513547 w 9144000"/>
              <a:gd name="connsiteY42" fmla="*/ 0 h 5143500"/>
              <a:gd name="connsiteX43" fmla="*/ 7513547 w 9144000"/>
              <a:gd name="connsiteY43" fmla="*/ 411479 h 5143500"/>
              <a:gd name="connsiteX44" fmla="*/ 8778239 w 9144000"/>
              <a:gd name="connsiteY44" fmla="*/ 411479 h 5143500"/>
              <a:gd name="connsiteX45" fmla="*/ 8778239 w 9144000"/>
              <a:gd name="connsiteY45" fmla="*/ 0 h 5143500"/>
              <a:gd name="connsiteX46" fmla="*/ 9144000 w 9144000"/>
              <a:gd name="connsiteY46" fmla="*/ 0 h 5143500"/>
              <a:gd name="connsiteX47" fmla="*/ 9144000 w 9144000"/>
              <a:gd name="connsiteY47" fmla="*/ 5143500 h 5143500"/>
              <a:gd name="connsiteX48" fmla="*/ 0 w 9144000"/>
              <a:gd name="connsiteY48" fmla="*/ 5143500 h 5143500"/>
              <a:gd name="connsiteX49" fmla="*/ 0 w 9144000"/>
              <a:gd name="connsiteY49" fmla="*/ 204789 h 5143500"/>
              <a:gd name="connsiteX50" fmla="*/ 366713 w 9144000"/>
              <a:gd name="connsiteY50" fmla="*/ 20478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144000" h="5143500">
                <a:moveTo>
                  <a:pt x="8341357" y="3061411"/>
                </a:moveTo>
                <a:cubicBezTo>
                  <a:pt x="8313099" y="3061411"/>
                  <a:pt x="8290190" y="3084320"/>
                  <a:pt x="8290190" y="3112578"/>
                </a:cubicBezTo>
                <a:cubicBezTo>
                  <a:pt x="8290190" y="3140839"/>
                  <a:pt x="8313099" y="3163745"/>
                  <a:pt x="8341357" y="3163745"/>
                </a:cubicBezTo>
                <a:cubicBezTo>
                  <a:pt x="8369620" y="3163745"/>
                  <a:pt x="8392526" y="3140839"/>
                  <a:pt x="8392526" y="3112578"/>
                </a:cubicBezTo>
                <a:cubicBezTo>
                  <a:pt x="8392526" y="3084320"/>
                  <a:pt x="8369620" y="3061411"/>
                  <a:pt x="8341357" y="3061411"/>
                </a:cubicBezTo>
                <a:close/>
                <a:moveTo>
                  <a:pt x="8571745" y="2831294"/>
                </a:moveTo>
                <a:cubicBezTo>
                  <a:pt x="8543487" y="2831294"/>
                  <a:pt x="8520578" y="2854203"/>
                  <a:pt x="8520578" y="2882461"/>
                </a:cubicBezTo>
                <a:cubicBezTo>
                  <a:pt x="8520578" y="2910722"/>
                  <a:pt x="8543487" y="2933628"/>
                  <a:pt x="8571745" y="2933628"/>
                </a:cubicBezTo>
                <a:cubicBezTo>
                  <a:pt x="8600006" y="2933628"/>
                  <a:pt x="8622912" y="2910722"/>
                  <a:pt x="8622912" y="2882461"/>
                </a:cubicBezTo>
                <a:cubicBezTo>
                  <a:pt x="8622912" y="2854203"/>
                  <a:pt x="8600006" y="2831294"/>
                  <a:pt x="8571745" y="2831294"/>
                </a:cubicBezTo>
                <a:close/>
                <a:moveTo>
                  <a:pt x="8110968" y="2831294"/>
                </a:moveTo>
                <a:cubicBezTo>
                  <a:pt x="8082710" y="2831294"/>
                  <a:pt x="8059801" y="2854203"/>
                  <a:pt x="8059801" y="2882461"/>
                </a:cubicBezTo>
                <a:cubicBezTo>
                  <a:pt x="8059801" y="2910722"/>
                  <a:pt x="8082710" y="2933628"/>
                  <a:pt x="8110968" y="2933628"/>
                </a:cubicBezTo>
                <a:cubicBezTo>
                  <a:pt x="8139229" y="2933628"/>
                  <a:pt x="8162135" y="2910722"/>
                  <a:pt x="8162135" y="2882461"/>
                </a:cubicBezTo>
                <a:cubicBezTo>
                  <a:pt x="8162135" y="2854203"/>
                  <a:pt x="8139229" y="2831294"/>
                  <a:pt x="8110968" y="2831294"/>
                </a:cubicBezTo>
                <a:close/>
                <a:moveTo>
                  <a:pt x="8341428" y="2722546"/>
                </a:moveTo>
                <a:cubicBezTo>
                  <a:pt x="8313172" y="2722546"/>
                  <a:pt x="8290261" y="2745455"/>
                  <a:pt x="8290261" y="2773711"/>
                </a:cubicBezTo>
                <a:lnTo>
                  <a:pt x="8290261" y="2780103"/>
                </a:lnTo>
                <a:cubicBezTo>
                  <a:pt x="8290261" y="2808366"/>
                  <a:pt x="8267354" y="2831270"/>
                  <a:pt x="8239094" y="2831270"/>
                </a:cubicBezTo>
                <a:lnTo>
                  <a:pt x="8232697" y="2831272"/>
                </a:lnTo>
                <a:cubicBezTo>
                  <a:pt x="8204439" y="2831272"/>
                  <a:pt x="8181530" y="2854178"/>
                  <a:pt x="8181530" y="2882439"/>
                </a:cubicBezTo>
                <a:cubicBezTo>
                  <a:pt x="8181530" y="2910700"/>
                  <a:pt x="8204439" y="2933606"/>
                  <a:pt x="8232697" y="2933606"/>
                </a:cubicBezTo>
                <a:lnTo>
                  <a:pt x="8239094" y="2933606"/>
                </a:lnTo>
                <a:cubicBezTo>
                  <a:pt x="8267354" y="2933606"/>
                  <a:pt x="8290261" y="2956512"/>
                  <a:pt x="8290261" y="2984773"/>
                </a:cubicBezTo>
                <a:lnTo>
                  <a:pt x="8290261" y="2991165"/>
                </a:lnTo>
                <a:cubicBezTo>
                  <a:pt x="8290261" y="3019428"/>
                  <a:pt x="8313172" y="3042334"/>
                  <a:pt x="8341428" y="3042334"/>
                </a:cubicBezTo>
                <a:cubicBezTo>
                  <a:pt x="8369691" y="3042334"/>
                  <a:pt x="8392597" y="3019428"/>
                  <a:pt x="8392597" y="2991165"/>
                </a:cubicBezTo>
                <a:lnTo>
                  <a:pt x="8392597" y="2984773"/>
                </a:lnTo>
                <a:cubicBezTo>
                  <a:pt x="8392597" y="2956512"/>
                  <a:pt x="8415505" y="2933606"/>
                  <a:pt x="8443766" y="2933606"/>
                </a:cubicBezTo>
                <a:lnTo>
                  <a:pt x="8450156" y="2933606"/>
                </a:lnTo>
                <a:cubicBezTo>
                  <a:pt x="8478417" y="2933606"/>
                  <a:pt x="8501325" y="2910700"/>
                  <a:pt x="8501325" y="2882439"/>
                </a:cubicBezTo>
                <a:cubicBezTo>
                  <a:pt x="8501325" y="2854178"/>
                  <a:pt x="8478417" y="2831272"/>
                  <a:pt x="8450156" y="2831272"/>
                </a:cubicBezTo>
                <a:lnTo>
                  <a:pt x="8443766" y="2831272"/>
                </a:lnTo>
                <a:cubicBezTo>
                  <a:pt x="8415505" y="2831272"/>
                  <a:pt x="8392597" y="2808366"/>
                  <a:pt x="8392597" y="2780103"/>
                </a:cubicBezTo>
                <a:lnTo>
                  <a:pt x="8392597" y="2773711"/>
                </a:lnTo>
                <a:cubicBezTo>
                  <a:pt x="8392597" y="2745455"/>
                  <a:pt x="8369691" y="2722546"/>
                  <a:pt x="8341428" y="2722546"/>
                </a:cubicBezTo>
                <a:close/>
                <a:moveTo>
                  <a:pt x="8341357" y="2601175"/>
                </a:moveTo>
                <a:cubicBezTo>
                  <a:pt x="8313099" y="2601175"/>
                  <a:pt x="8290190" y="2624084"/>
                  <a:pt x="8290190" y="2652342"/>
                </a:cubicBezTo>
                <a:cubicBezTo>
                  <a:pt x="8290190" y="2680603"/>
                  <a:pt x="8313099" y="2703509"/>
                  <a:pt x="8341357" y="2703509"/>
                </a:cubicBezTo>
                <a:cubicBezTo>
                  <a:pt x="8369620" y="2703509"/>
                  <a:pt x="8392526" y="2680603"/>
                  <a:pt x="8392526" y="2652342"/>
                </a:cubicBezTo>
                <a:cubicBezTo>
                  <a:pt x="8392526" y="2624084"/>
                  <a:pt x="8369620" y="2601175"/>
                  <a:pt x="8341357" y="2601175"/>
                </a:cubicBezTo>
                <a:close/>
                <a:moveTo>
                  <a:pt x="366713" y="0"/>
                </a:moveTo>
                <a:lnTo>
                  <a:pt x="7513547" y="0"/>
                </a:lnTo>
                <a:lnTo>
                  <a:pt x="7513547" y="411479"/>
                </a:lnTo>
                <a:lnTo>
                  <a:pt x="8778239" y="411479"/>
                </a:lnTo>
                <a:lnTo>
                  <a:pt x="8778239" y="0"/>
                </a:lnTo>
                <a:lnTo>
                  <a:pt x="9144000" y="0"/>
                </a:lnTo>
                <a:lnTo>
                  <a:pt x="9144000" y="5143500"/>
                </a:lnTo>
                <a:lnTo>
                  <a:pt x="0" y="5143500"/>
                </a:lnTo>
                <a:lnTo>
                  <a:pt x="0" y="204789"/>
                </a:lnTo>
                <a:lnTo>
                  <a:pt x="366713" y="204789"/>
                </a:lnTo>
                <a:close/>
              </a:path>
            </a:pathLst>
          </a:custGeom>
          <a:blipFill>
            <a:blip r:embed="rId6"/>
            <a:stretch>
              <a:fillRect/>
            </a:stretch>
          </a:blipFill>
        </p:spPr>
        <p:txBody>
          <a:bodyPr wrap="square" bIns="2412000" anchor="ctr">
            <a:noAutofit/>
          </a:bodyPr>
          <a:lstStyle>
            <a:lvl1pPr marL="0" indent="0" algn="ctr" rtl="0">
              <a:buNone/>
              <a:defRPr>
                <a:solidFill>
                  <a:schemeClr val="bg1"/>
                </a:solidFill>
              </a:defRPr>
            </a:lvl1pPr>
          </a:lstStyle>
          <a:p>
            <a:r>
              <a:rPr lang="de-DE" dirty="0"/>
              <a:t>Bild hinzufügen</a:t>
            </a:r>
          </a:p>
        </p:txBody>
      </p:sp>
      <p:pic>
        <p:nvPicPr>
          <p:cNvPr id="14" name="Graphic 13">
            <a:extLst>
              <a:ext uri="{FF2B5EF4-FFF2-40B4-BE49-F238E27FC236}">
                <a16:creationId xmlns:a16="http://schemas.microsoft.com/office/drawing/2014/main" id="{43CD198E-4F0F-457A-9B03-F4B60CE74421}"/>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513547" y="0"/>
            <a:ext cx="1264692" cy="411479"/>
          </a:xfrm>
          <a:prstGeom prst="rect">
            <a:avLst/>
          </a:prstGeom>
        </p:spPr>
      </p:pic>
      <p:sp>
        <p:nvSpPr>
          <p:cNvPr id="17" name="Title 16">
            <a:extLst>
              <a:ext uri="{FF2B5EF4-FFF2-40B4-BE49-F238E27FC236}">
                <a16:creationId xmlns:a16="http://schemas.microsoft.com/office/drawing/2014/main" id="{C37A9F18-7345-44F8-9B61-DAA9D97F193F}"/>
              </a:ext>
            </a:extLst>
          </p:cNvPr>
          <p:cNvSpPr>
            <a:spLocks noGrp="1"/>
          </p:cNvSpPr>
          <p:nvPr>
            <p:ph type="title" hasCustomPrompt="1"/>
          </p:nvPr>
        </p:nvSpPr>
        <p:spPr>
          <a:xfrm>
            <a:off x="731839" y="224577"/>
            <a:ext cx="3657599" cy="252377"/>
          </a:xfrm>
        </p:spPr>
        <p:txBody>
          <a:bodyPr vert="horz">
            <a:noAutofit/>
          </a:bodyPr>
          <a:lstStyle>
            <a:lvl1pPr rtl="0">
              <a:defRPr cap="all" baseline="0">
                <a:solidFill>
                  <a:schemeClr val="bg1"/>
                </a:solidFill>
              </a:defRPr>
            </a:lvl1pPr>
          </a:lstStyle>
          <a:p>
            <a:r>
              <a:rPr lang="de-DE" noProof="0" dirty="0"/>
              <a:t>Titel hinzufügen</a:t>
            </a:r>
            <a:endParaRPr lang="de-DE" dirty="0"/>
          </a:p>
        </p:txBody>
      </p:sp>
      <p:sp>
        <p:nvSpPr>
          <p:cNvPr id="24" name="Text Placeholder 23">
            <a:extLst>
              <a:ext uri="{FF2B5EF4-FFF2-40B4-BE49-F238E27FC236}">
                <a16:creationId xmlns:a16="http://schemas.microsoft.com/office/drawing/2014/main" id="{D17FEDF0-2787-4106-9A5D-EAEA072AFBD2}"/>
              </a:ext>
            </a:extLst>
          </p:cNvPr>
          <p:cNvSpPr>
            <a:spLocks noGrp="1"/>
          </p:cNvSpPr>
          <p:nvPr>
            <p:ph type="body" sz="quarter" idx="19" hasCustomPrompt="1"/>
          </p:nvPr>
        </p:nvSpPr>
        <p:spPr>
          <a:xfrm>
            <a:off x="366713" y="2881313"/>
            <a:ext cx="8410575" cy="1851025"/>
          </a:xfrm>
          <a:custGeom>
            <a:avLst/>
            <a:gdLst>
              <a:gd name="connsiteX0" fmla="*/ 7974644 w 8410575"/>
              <a:gd name="connsiteY0" fmla="*/ 180098 h 1851025"/>
              <a:gd name="connsiteX1" fmla="*/ 7923477 w 8410575"/>
              <a:gd name="connsiteY1" fmla="*/ 231265 h 1851025"/>
              <a:gd name="connsiteX2" fmla="*/ 7974644 w 8410575"/>
              <a:gd name="connsiteY2" fmla="*/ 282432 h 1851025"/>
              <a:gd name="connsiteX3" fmla="*/ 8025813 w 8410575"/>
              <a:gd name="connsiteY3" fmla="*/ 231265 h 1851025"/>
              <a:gd name="connsiteX4" fmla="*/ 7974644 w 8410575"/>
              <a:gd name="connsiteY4" fmla="*/ 180098 h 1851025"/>
              <a:gd name="connsiteX5" fmla="*/ 0 w 8410575"/>
              <a:gd name="connsiteY5" fmla="*/ 0 h 1851025"/>
              <a:gd name="connsiteX6" fmla="*/ 7693564 w 8410575"/>
              <a:gd name="connsiteY6" fmla="*/ 0 h 1851025"/>
              <a:gd name="connsiteX7" fmla="*/ 7693088 w 8410575"/>
              <a:gd name="connsiteY7" fmla="*/ 1148 h 1851025"/>
              <a:gd name="connsiteX8" fmla="*/ 7744255 w 8410575"/>
              <a:gd name="connsiteY8" fmla="*/ 52315 h 1851025"/>
              <a:gd name="connsiteX9" fmla="*/ 7795422 w 8410575"/>
              <a:gd name="connsiteY9" fmla="*/ 1148 h 1851025"/>
              <a:gd name="connsiteX10" fmla="*/ 7794947 w 8410575"/>
              <a:gd name="connsiteY10" fmla="*/ 0 h 1851025"/>
              <a:gd name="connsiteX11" fmla="*/ 7815284 w 8410575"/>
              <a:gd name="connsiteY11" fmla="*/ 0 h 1851025"/>
              <a:gd name="connsiteX12" fmla="*/ 7814817 w 8410575"/>
              <a:gd name="connsiteY12" fmla="*/ 1126 h 1851025"/>
              <a:gd name="connsiteX13" fmla="*/ 7865984 w 8410575"/>
              <a:gd name="connsiteY13" fmla="*/ 52293 h 1851025"/>
              <a:gd name="connsiteX14" fmla="*/ 7872381 w 8410575"/>
              <a:gd name="connsiteY14" fmla="*/ 52293 h 1851025"/>
              <a:gd name="connsiteX15" fmla="*/ 7923548 w 8410575"/>
              <a:gd name="connsiteY15" fmla="*/ 103460 h 1851025"/>
              <a:gd name="connsiteX16" fmla="*/ 7923548 w 8410575"/>
              <a:gd name="connsiteY16" fmla="*/ 109852 h 1851025"/>
              <a:gd name="connsiteX17" fmla="*/ 7974715 w 8410575"/>
              <a:gd name="connsiteY17" fmla="*/ 161021 h 1851025"/>
              <a:gd name="connsiteX18" fmla="*/ 8025884 w 8410575"/>
              <a:gd name="connsiteY18" fmla="*/ 109852 h 1851025"/>
              <a:gd name="connsiteX19" fmla="*/ 8025884 w 8410575"/>
              <a:gd name="connsiteY19" fmla="*/ 103460 h 1851025"/>
              <a:gd name="connsiteX20" fmla="*/ 8077053 w 8410575"/>
              <a:gd name="connsiteY20" fmla="*/ 52293 h 1851025"/>
              <a:gd name="connsiteX21" fmla="*/ 8083443 w 8410575"/>
              <a:gd name="connsiteY21" fmla="*/ 52293 h 1851025"/>
              <a:gd name="connsiteX22" fmla="*/ 8134612 w 8410575"/>
              <a:gd name="connsiteY22" fmla="*/ 1126 h 1851025"/>
              <a:gd name="connsiteX23" fmla="*/ 8134146 w 8410575"/>
              <a:gd name="connsiteY23" fmla="*/ 0 h 1851025"/>
              <a:gd name="connsiteX24" fmla="*/ 8154341 w 8410575"/>
              <a:gd name="connsiteY24" fmla="*/ 0 h 1851025"/>
              <a:gd name="connsiteX25" fmla="*/ 8153865 w 8410575"/>
              <a:gd name="connsiteY25" fmla="*/ 1148 h 1851025"/>
              <a:gd name="connsiteX26" fmla="*/ 8205032 w 8410575"/>
              <a:gd name="connsiteY26" fmla="*/ 52315 h 1851025"/>
              <a:gd name="connsiteX27" fmla="*/ 8256199 w 8410575"/>
              <a:gd name="connsiteY27" fmla="*/ 1148 h 1851025"/>
              <a:gd name="connsiteX28" fmla="*/ 8255723 w 8410575"/>
              <a:gd name="connsiteY28" fmla="*/ 0 h 1851025"/>
              <a:gd name="connsiteX29" fmla="*/ 8410575 w 8410575"/>
              <a:gd name="connsiteY29" fmla="*/ 0 h 1851025"/>
              <a:gd name="connsiteX30" fmla="*/ 8410575 w 8410575"/>
              <a:gd name="connsiteY30" fmla="*/ 1851025 h 1851025"/>
              <a:gd name="connsiteX31" fmla="*/ 0 w 8410575"/>
              <a:gd name="connsiteY31" fmla="*/ 1851025 h 185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10575" h="1851025">
                <a:moveTo>
                  <a:pt x="7974644" y="180098"/>
                </a:moveTo>
                <a:cubicBezTo>
                  <a:pt x="7946386" y="180098"/>
                  <a:pt x="7923477" y="203007"/>
                  <a:pt x="7923477" y="231265"/>
                </a:cubicBezTo>
                <a:cubicBezTo>
                  <a:pt x="7923477" y="259526"/>
                  <a:pt x="7946386" y="282432"/>
                  <a:pt x="7974644" y="282432"/>
                </a:cubicBezTo>
                <a:cubicBezTo>
                  <a:pt x="8002907" y="282432"/>
                  <a:pt x="8025813" y="259526"/>
                  <a:pt x="8025813" y="231265"/>
                </a:cubicBezTo>
                <a:cubicBezTo>
                  <a:pt x="8025813" y="203007"/>
                  <a:pt x="8002907" y="180098"/>
                  <a:pt x="7974644" y="180098"/>
                </a:cubicBezTo>
                <a:close/>
                <a:moveTo>
                  <a:pt x="0" y="0"/>
                </a:moveTo>
                <a:lnTo>
                  <a:pt x="7693564" y="0"/>
                </a:lnTo>
                <a:lnTo>
                  <a:pt x="7693088" y="1148"/>
                </a:lnTo>
                <a:cubicBezTo>
                  <a:pt x="7693088" y="29409"/>
                  <a:pt x="7715997" y="52315"/>
                  <a:pt x="7744255" y="52315"/>
                </a:cubicBezTo>
                <a:cubicBezTo>
                  <a:pt x="7772516" y="52315"/>
                  <a:pt x="7795422" y="29409"/>
                  <a:pt x="7795422" y="1148"/>
                </a:cubicBezTo>
                <a:lnTo>
                  <a:pt x="7794947" y="0"/>
                </a:lnTo>
                <a:lnTo>
                  <a:pt x="7815284" y="0"/>
                </a:lnTo>
                <a:lnTo>
                  <a:pt x="7814817" y="1126"/>
                </a:lnTo>
                <a:cubicBezTo>
                  <a:pt x="7814817" y="29387"/>
                  <a:pt x="7837726" y="52293"/>
                  <a:pt x="7865984" y="52293"/>
                </a:cubicBezTo>
                <a:lnTo>
                  <a:pt x="7872381" y="52293"/>
                </a:lnTo>
                <a:cubicBezTo>
                  <a:pt x="7900641" y="52293"/>
                  <a:pt x="7923548" y="75199"/>
                  <a:pt x="7923548" y="103460"/>
                </a:cubicBezTo>
                <a:lnTo>
                  <a:pt x="7923548" y="109852"/>
                </a:lnTo>
                <a:cubicBezTo>
                  <a:pt x="7923548" y="138115"/>
                  <a:pt x="7946459" y="161021"/>
                  <a:pt x="7974715" y="161021"/>
                </a:cubicBezTo>
                <a:cubicBezTo>
                  <a:pt x="8002978" y="161021"/>
                  <a:pt x="8025884" y="138115"/>
                  <a:pt x="8025884" y="109852"/>
                </a:cubicBezTo>
                <a:lnTo>
                  <a:pt x="8025884" y="103460"/>
                </a:lnTo>
                <a:cubicBezTo>
                  <a:pt x="8025884" y="75199"/>
                  <a:pt x="8048792" y="52293"/>
                  <a:pt x="8077053" y="52293"/>
                </a:cubicBezTo>
                <a:lnTo>
                  <a:pt x="8083443" y="52293"/>
                </a:lnTo>
                <a:cubicBezTo>
                  <a:pt x="8111704" y="52293"/>
                  <a:pt x="8134612" y="29387"/>
                  <a:pt x="8134612" y="1126"/>
                </a:cubicBezTo>
                <a:lnTo>
                  <a:pt x="8134146" y="0"/>
                </a:lnTo>
                <a:lnTo>
                  <a:pt x="8154341" y="0"/>
                </a:lnTo>
                <a:lnTo>
                  <a:pt x="8153865" y="1148"/>
                </a:lnTo>
                <a:cubicBezTo>
                  <a:pt x="8153865" y="29409"/>
                  <a:pt x="8176774" y="52315"/>
                  <a:pt x="8205032" y="52315"/>
                </a:cubicBezTo>
                <a:cubicBezTo>
                  <a:pt x="8233293" y="52315"/>
                  <a:pt x="8256199" y="29409"/>
                  <a:pt x="8256199" y="1148"/>
                </a:cubicBezTo>
                <a:lnTo>
                  <a:pt x="8255723" y="0"/>
                </a:lnTo>
                <a:lnTo>
                  <a:pt x="8410575" y="0"/>
                </a:lnTo>
                <a:lnTo>
                  <a:pt x="8410575" y="1851025"/>
                </a:lnTo>
                <a:lnTo>
                  <a:pt x="0" y="1851025"/>
                </a:lnTo>
                <a:close/>
              </a:path>
            </a:pathLst>
          </a:custGeom>
          <a:solidFill>
            <a:schemeClr val="accent3">
              <a:alpha val="80000"/>
            </a:schemeClr>
          </a:solidFill>
        </p:spPr>
        <p:txBody>
          <a:bodyPr wrap="square" lIns="1476000" tIns="144000" rIns="360000" anchor="t">
            <a:noAutofit/>
          </a:bodyPr>
          <a:lstStyle>
            <a:lvl1pPr marL="0" indent="0" rtl="0">
              <a:spcAft>
                <a:spcPts val="0"/>
              </a:spcAft>
              <a:buClr>
                <a:schemeClr val="bg1"/>
              </a:buClr>
              <a:buSzPct val="100000"/>
              <a:buFont typeface="+mj-lt"/>
              <a:buNone/>
              <a:defRPr sz="2000" b="1">
                <a:solidFill>
                  <a:schemeClr val="bg1"/>
                </a:solidFill>
              </a:defRPr>
            </a:lvl1pPr>
            <a:lvl2pPr marL="0" indent="0">
              <a:buFont typeface="Arial" panose="020B0604020202020204" pitchFamily="34" charset="0"/>
              <a:buNone/>
              <a:defRPr>
                <a:solidFill>
                  <a:schemeClr val="bg1"/>
                </a:solidFill>
              </a:defRPr>
            </a:lvl2pPr>
            <a:lvl3pPr marL="0" indent="0">
              <a:buFont typeface="Arial" panose="020B0604020202020204" pitchFamily="34" charset="0"/>
              <a:buNone/>
              <a:defRPr>
                <a:solidFill>
                  <a:schemeClr val="bg1"/>
                </a:solidFill>
              </a:defRPr>
            </a:lvl3pPr>
            <a:lvl4pPr marL="0" indent="0">
              <a:buFont typeface="Arial" panose="020B0604020202020204" pitchFamily="34" charset="0"/>
              <a:buNone/>
              <a:defRPr>
                <a:solidFill>
                  <a:schemeClr val="bg1"/>
                </a:solidFill>
              </a:defRPr>
            </a:lvl4pPr>
            <a:lvl5pPr marL="0" indent="0">
              <a:buFont typeface="Arial" panose="020B0604020202020204" pitchFamily="34" charset="0"/>
              <a:buNone/>
              <a:defRPr>
                <a:solidFill>
                  <a:schemeClr val="bg1"/>
                </a:solidFill>
              </a:defRPr>
            </a:lvl5pPr>
          </a:lstStyle>
          <a:p>
            <a:pPr lvl="0"/>
            <a:r>
              <a:rPr lang="de-DE" dirty="0"/>
              <a:t>Name Nachname</a:t>
            </a:r>
          </a:p>
        </p:txBody>
      </p:sp>
      <p:sp>
        <p:nvSpPr>
          <p:cNvPr id="26" name="Text Placeholder 2">
            <a:extLst>
              <a:ext uri="{FF2B5EF4-FFF2-40B4-BE49-F238E27FC236}">
                <a16:creationId xmlns:a16="http://schemas.microsoft.com/office/drawing/2014/main" id="{152CE220-EA61-4629-88BF-967BD86AB5C0}"/>
              </a:ext>
            </a:extLst>
          </p:cNvPr>
          <p:cNvSpPr>
            <a:spLocks noGrp="1"/>
          </p:cNvSpPr>
          <p:nvPr>
            <p:ph type="body" sz="quarter" idx="20" hasCustomPrompt="1"/>
          </p:nvPr>
        </p:nvSpPr>
        <p:spPr>
          <a:xfrm>
            <a:off x="1827213" y="3800812"/>
            <a:ext cx="2928937" cy="851515"/>
          </a:xfrm>
        </p:spPr>
        <p:txBody>
          <a:bodyPr>
            <a:noAutofit/>
          </a:bodyPr>
          <a:lstStyle>
            <a:lvl1pPr marL="0" indent="0" rtl="0">
              <a:buNone/>
              <a:defRPr>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dirty="0"/>
              <a:t>Info</a:t>
            </a:r>
          </a:p>
        </p:txBody>
      </p:sp>
      <p:sp>
        <p:nvSpPr>
          <p:cNvPr id="16" name="Text Placeholder 15">
            <a:extLst>
              <a:ext uri="{FF2B5EF4-FFF2-40B4-BE49-F238E27FC236}">
                <a16:creationId xmlns:a16="http://schemas.microsoft.com/office/drawing/2014/main" id="{250E8A14-B46E-485D-9480-B0C577C53419}"/>
              </a:ext>
            </a:extLst>
          </p:cNvPr>
          <p:cNvSpPr>
            <a:spLocks noGrp="1"/>
          </p:cNvSpPr>
          <p:nvPr>
            <p:ph type="body" sz="quarter" idx="21" hasCustomPrompt="1"/>
          </p:nvPr>
        </p:nvSpPr>
        <p:spPr>
          <a:xfrm>
            <a:off x="5108463" y="3097791"/>
            <a:ext cx="28800" cy="1428487"/>
          </a:xfrm>
          <a:solidFill>
            <a:schemeClr val="bg1"/>
          </a:solidFill>
        </p:spPr>
        <p:txBody>
          <a:bodyPr/>
          <a:lstStyle>
            <a:lvl1pPr marL="0" indent="0" rtl="0">
              <a:buNone/>
              <a:defRPr sz="100">
                <a:solidFill>
                  <a:schemeClr val="tx1">
                    <a:alpha val="0"/>
                  </a:schemeClr>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dirty="0"/>
              <a:t>.</a:t>
            </a:r>
          </a:p>
        </p:txBody>
      </p:sp>
      <p:sp>
        <p:nvSpPr>
          <p:cNvPr id="46" name="Picture Placeholder 45">
            <a:extLst>
              <a:ext uri="{FF2B5EF4-FFF2-40B4-BE49-F238E27FC236}">
                <a16:creationId xmlns:a16="http://schemas.microsoft.com/office/drawing/2014/main" id="{850E91DF-C060-4333-88C1-CC1913C6A81B}"/>
              </a:ext>
            </a:extLst>
          </p:cNvPr>
          <p:cNvSpPr>
            <a:spLocks noGrp="1"/>
          </p:cNvSpPr>
          <p:nvPr>
            <p:ph type="pic" sz="quarter" idx="23" hasCustomPrompt="1"/>
          </p:nvPr>
        </p:nvSpPr>
        <p:spPr>
          <a:xfrm>
            <a:off x="596843" y="2692663"/>
            <a:ext cx="1003300" cy="1004400"/>
          </a:xfrm>
          <a:prstGeom prst="ellipse">
            <a:avLst/>
          </a:prstGeom>
          <a:solidFill>
            <a:schemeClr val="accent4">
              <a:lumMod val="20000"/>
              <a:lumOff val="80000"/>
            </a:schemeClr>
          </a:solidFill>
          <a:ln w="25400">
            <a:solidFill>
              <a:schemeClr val="bg1"/>
            </a:solidFill>
            <a:miter lim="800000"/>
          </a:ln>
        </p:spPr>
        <p:txBody>
          <a:bodyPr anchor="ctr"/>
          <a:lstStyle>
            <a:lvl1pPr marL="0" indent="0" algn="ctr" rtl="0">
              <a:buNone/>
              <a:defRPr sz="1200"/>
            </a:lvl1pPr>
          </a:lstStyle>
          <a:p>
            <a:r>
              <a:rPr lang="de-DE" dirty="0"/>
              <a:t>Bild hinzufügen</a:t>
            </a:r>
          </a:p>
        </p:txBody>
      </p:sp>
      <p:sp>
        <p:nvSpPr>
          <p:cNvPr id="13" name="Text Placeholder 9">
            <a:extLst>
              <a:ext uri="{FF2B5EF4-FFF2-40B4-BE49-F238E27FC236}">
                <a16:creationId xmlns:a16="http://schemas.microsoft.com/office/drawing/2014/main" id="{35E9D8DF-ACFA-4214-A71A-6010054D9A25}"/>
              </a:ext>
            </a:extLst>
          </p:cNvPr>
          <p:cNvSpPr>
            <a:spLocks noGrp="1"/>
          </p:cNvSpPr>
          <p:nvPr>
            <p:ph type="body" sz="quarter" idx="14" hasCustomPrompt="1"/>
          </p:nvPr>
        </p:nvSpPr>
        <p:spPr>
          <a:xfrm>
            <a:off x="1098550" y="4938713"/>
            <a:ext cx="6948488" cy="204787"/>
          </a:xfrm>
        </p:spPr>
        <p:txBody>
          <a:bodyPr anchor="ctr">
            <a:noAutofit/>
          </a:bodyPr>
          <a:lstStyle>
            <a:lvl1pPr marL="0" indent="0" rtl="0">
              <a:spcAft>
                <a:spcPts val="0"/>
              </a:spcAft>
              <a:buNone/>
              <a:defRPr sz="600">
                <a:solidFill>
                  <a:schemeClr val="bg1"/>
                </a:solidFill>
              </a:defRPr>
            </a:lvl1pPr>
            <a:lvl2pPr marL="0" indent="0">
              <a:spcAft>
                <a:spcPts val="0"/>
              </a:spcAft>
              <a:buFont typeface="Arial" panose="020B0604020202020204" pitchFamily="34" charset="0"/>
              <a:buNone/>
              <a:defRPr sz="600"/>
            </a:lvl2pPr>
            <a:lvl3pPr marL="0" indent="0">
              <a:spcAft>
                <a:spcPts val="0"/>
              </a:spcAft>
              <a:buFont typeface="Arial" panose="020B0604020202020204" pitchFamily="34" charset="0"/>
              <a:buNone/>
              <a:defRPr sz="600"/>
            </a:lvl3pPr>
          </a:lstStyle>
          <a:p>
            <a:pPr lvl="0"/>
            <a:r>
              <a:rPr lang="de-DE" noProof="0" dirty="0"/>
              <a:t>Quelle: </a:t>
            </a:r>
          </a:p>
        </p:txBody>
      </p:sp>
      <p:sp>
        <p:nvSpPr>
          <p:cNvPr id="20" name="Text Placeholder 2">
            <a:extLst>
              <a:ext uri="{FF2B5EF4-FFF2-40B4-BE49-F238E27FC236}">
                <a16:creationId xmlns:a16="http://schemas.microsoft.com/office/drawing/2014/main" id="{F0867B11-6A8E-4684-A38B-1C87840C41E0}"/>
              </a:ext>
            </a:extLst>
          </p:cNvPr>
          <p:cNvSpPr>
            <a:spLocks noGrp="1"/>
          </p:cNvSpPr>
          <p:nvPr>
            <p:ph type="body" sz="quarter" idx="25" hasCustomPrompt="1"/>
          </p:nvPr>
        </p:nvSpPr>
        <p:spPr>
          <a:xfrm>
            <a:off x="5484813" y="3067632"/>
            <a:ext cx="3181145" cy="1584695"/>
          </a:xfrm>
        </p:spPr>
        <p:txBody>
          <a:bodyPr>
            <a:noAutofit/>
          </a:bodyPr>
          <a:lstStyle>
            <a:lvl1pPr marL="0" indent="0" rtl="0">
              <a:buNone/>
              <a:defRPr sz="2000" b="1">
                <a:solidFill>
                  <a:schemeClr val="bg1"/>
                </a:solidFill>
              </a:defRPr>
            </a:lvl1pPr>
            <a:lvl2pPr marL="0" indent="0">
              <a:buFont typeface="Arial" panose="020B0604020202020204" pitchFamily="34" charset="0"/>
              <a:buNone/>
              <a:defRPr>
                <a:solidFill>
                  <a:schemeClr val="bg1"/>
                </a:solidFill>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dirty="0"/>
              <a:t>Firmenname</a:t>
            </a:r>
          </a:p>
          <a:p>
            <a:pPr lvl="1"/>
            <a:r>
              <a:rPr lang="de-DE" dirty="0"/>
              <a:t>Info</a:t>
            </a:r>
          </a:p>
        </p:txBody>
      </p:sp>
      <p:sp>
        <p:nvSpPr>
          <p:cNvPr id="15" name="Text Placeholder 31">
            <a:extLst>
              <a:ext uri="{FF2B5EF4-FFF2-40B4-BE49-F238E27FC236}">
                <a16:creationId xmlns:a16="http://schemas.microsoft.com/office/drawing/2014/main" id="{3143706E-FDE3-4E05-A618-6CC2696C59B0}"/>
              </a:ext>
            </a:extLst>
          </p:cNvPr>
          <p:cNvSpPr>
            <a:spLocks noGrp="1"/>
          </p:cNvSpPr>
          <p:nvPr>
            <p:ph type="body" sz="quarter" idx="24" hasCustomPrompt="1"/>
          </p:nvPr>
        </p:nvSpPr>
        <p:spPr>
          <a:xfrm>
            <a:off x="8113387" y="3800811"/>
            <a:ext cx="476166" cy="725150"/>
          </a:xfrm>
          <a:blipFill>
            <a:blip r:embed="rId9" cstate="screen">
              <a:extLst>
                <a:ext uri="{28A0092B-C50C-407E-A947-70E740481C1C}">
                  <a14:useLocalDpi xmlns:a14="http://schemas.microsoft.com/office/drawing/2010/main"/>
                </a:ext>
              </a:extLst>
            </a:blip>
            <a:stretch>
              <a:fillRect/>
            </a:stretch>
          </a:blipFill>
        </p:spPr>
        <p:txBody>
          <a:bodyPr/>
          <a:lstStyle>
            <a:lvl1pPr marL="0" indent="0" rtl="0">
              <a:buNone/>
              <a:defRPr sz="100">
                <a:solidFill>
                  <a:schemeClr val="tx1">
                    <a:alpha val="0"/>
                  </a:schemeClr>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dirty="0"/>
              <a:t>.</a:t>
            </a:r>
          </a:p>
        </p:txBody>
      </p:sp>
    </p:spTree>
    <p:extLst>
      <p:ext uri="{BB962C8B-B14F-4D97-AF65-F5344CB8AC3E}">
        <p14:creationId xmlns:p14="http://schemas.microsoft.com/office/powerpoint/2010/main" val="3583899456"/>
      </p:ext>
    </p:extLst>
  </p:cSld>
  <p:clrMapOvr>
    <a:masterClrMapping/>
  </p:clrMapOvr>
  <p:extLst>
    <p:ext uri="{DCECCB84-F9BA-43D5-87BE-67443E8EF086}">
      <p15:sldGuideLst xmlns:p15="http://schemas.microsoft.com/office/powerpoint/2012/main">
        <p15:guide id="1" pos="231">
          <p15:clr>
            <a:srgbClr val="F26B43"/>
          </p15:clr>
        </p15:guide>
        <p15:guide id="2" orient="horz" pos="1815">
          <p15:clr>
            <a:srgbClr val="F26B43"/>
          </p15:clr>
        </p15:guide>
        <p15:guide id="3" orient="horz" pos="2981">
          <p15:clr>
            <a:srgbClr val="F26B43"/>
          </p15:clr>
        </p15:guide>
        <p15:guide id="4" pos="5529">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chlussfolie / Vertikale Ausrichtu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7AD15DB-6C5F-413D-A194-0EF2FCB322C4}"/>
              </a:ext>
            </a:extLst>
          </p:cNvPr>
          <p:cNvGraphicFramePr>
            <a:graphicFrameLocks noChangeAspect="1"/>
          </p:cNvGraphicFramePr>
          <p:nvPr userDrawn="1">
            <p:custDataLst>
              <p:tags r:id="rId2"/>
            </p:custDataLst>
            <p:extLst>
              <p:ext uri="{D42A27DB-BD31-4B8C-83A1-F6EECF244321}">
                <p14:modId xmlns:p14="http://schemas.microsoft.com/office/powerpoint/2010/main" val="99656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833"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87AD15DB-6C5F-413D-A194-0EF2FCB322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05720F6F-C2F5-4036-B68C-EDBCA029D244}"/>
              </a:ext>
            </a:extLst>
          </p:cNvPr>
          <p:cNvSpPr/>
          <p:nvPr/>
        </p:nvSpPr>
        <p:spPr>
          <a:xfrm flipV="1">
            <a:off x="4210352" y="3833831"/>
            <a:ext cx="726772" cy="726072"/>
          </a:xfrm>
          <a:prstGeom prst="rect">
            <a:avLst/>
          </a:prstGeom>
          <a:solidFill>
            <a:schemeClr val="accent6"/>
          </a:solidFill>
          <a:ln w="2251" cap="flat">
            <a:noFill/>
            <a:prstDash val="solid"/>
            <a:miter/>
          </a:ln>
        </p:spPr>
        <p:txBody>
          <a:bodyPr rtlCol="0" anchor="ctr"/>
          <a:lstStyle/>
          <a:p>
            <a:pPr rtl="0"/>
            <a:endParaRPr lang="de-DE" dirty="0"/>
          </a:p>
        </p:txBody>
      </p:sp>
      <p:sp>
        <p:nvSpPr>
          <p:cNvPr id="37" name="Picture Placeholder 36">
            <a:extLst>
              <a:ext uri="{FF2B5EF4-FFF2-40B4-BE49-F238E27FC236}">
                <a16:creationId xmlns:a16="http://schemas.microsoft.com/office/drawing/2014/main" id="{821CCB68-AFFA-4FEE-8EE5-0AC93D3A4712}"/>
              </a:ext>
            </a:extLst>
          </p:cNvPr>
          <p:cNvSpPr>
            <a:spLocks noGrp="1"/>
          </p:cNvSpPr>
          <p:nvPr>
            <p:ph type="pic" sz="quarter" idx="18" hasCustomPrompt="1"/>
          </p:nvPr>
        </p:nvSpPr>
        <p:spPr>
          <a:xfrm>
            <a:off x="0" y="0"/>
            <a:ext cx="9144000" cy="5143500"/>
          </a:xfrm>
          <a:custGeom>
            <a:avLst/>
            <a:gdLst>
              <a:gd name="connsiteX0" fmla="*/ 4573738 w 9144000"/>
              <a:gd name="connsiteY0" fmla="*/ 4375818 h 5143500"/>
              <a:gd name="connsiteX1" fmla="*/ 4522571 w 9144000"/>
              <a:gd name="connsiteY1" fmla="*/ 4426985 h 5143500"/>
              <a:gd name="connsiteX2" fmla="*/ 4573738 w 9144000"/>
              <a:gd name="connsiteY2" fmla="*/ 4478152 h 5143500"/>
              <a:gd name="connsiteX3" fmla="*/ 4624907 w 9144000"/>
              <a:gd name="connsiteY3" fmla="*/ 4426985 h 5143500"/>
              <a:gd name="connsiteX4" fmla="*/ 4573738 w 9144000"/>
              <a:gd name="connsiteY4" fmla="*/ 4375818 h 5143500"/>
              <a:gd name="connsiteX5" fmla="*/ 4804126 w 9144000"/>
              <a:gd name="connsiteY5" fmla="*/ 4145701 h 5143500"/>
              <a:gd name="connsiteX6" fmla="*/ 4752959 w 9144000"/>
              <a:gd name="connsiteY6" fmla="*/ 4196868 h 5143500"/>
              <a:gd name="connsiteX7" fmla="*/ 4804126 w 9144000"/>
              <a:gd name="connsiteY7" fmla="*/ 4248035 h 5143500"/>
              <a:gd name="connsiteX8" fmla="*/ 4855293 w 9144000"/>
              <a:gd name="connsiteY8" fmla="*/ 4196868 h 5143500"/>
              <a:gd name="connsiteX9" fmla="*/ 4804126 w 9144000"/>
              <a:gd name="connsiteY9" fmla="*/ 4145701 h 5143500"/>
              <a:gd name="connsiteX10" fmla="*/ 4343349 w 9144000"/>
              <a:gd name="connsiteY10" fmla="*/ 4145701 h 5143500"/>
              <a:gd name="connsiteX11" fmla="*/ 4292182 w 9144000"/>
              <a:gd name="connsiteY11" fmla="*/ 4196868 h 5143500"/>
              <a:gd name="connsiteX12" fmla="*/ 4343349 w 9144000"/>
              <a:gd name="connsiteY12" fmla="*/ 4248035 h 5143500"/>
              <a:gd name="connsiteX13" fmla="*/ 4394516 w 9144000"/>
              <a:gd name="connsiteY13" fmla="*/ 4196868 h 5143500"/>
              <a:gd name="connsiteX14" fmla="*/ 4343349 w 9144000"/>
              <a:gd name="connsiteY14" fmla="*/ 4145701 h 5143500"/>
              <a:gd name="connsiteX15" fmla="*/ 4573809 w 9144000"/>
              <a:gd name="connsiteY15" fmla="*/ 4036953 h 5143500"/>
              <a:gd name="connsiteX16" fmla="*/ 4522642 w 9144000"/>
              <a:gd name="connsiteY16" fmla="*/ 4088118 h 5143500"/>
              <a:gd name="connsiteX17" fmla="*/ 4522642 w 9144000"/>
              <a:gd name="connsiteY17" fmla="*/ 4094510 h 5143500"/>
              <a:gd name="connsiteX18" fmla="*/ 4471475 w 9144000"/>
              <a:gd name="connsiteY18" fmla="*/ 4145677 h 5143500"/>
              <a:gd name="connsiteX19" fmla="*/ 4465078 w 9144000"/>
              <a:gd name="connsiteY19" fmla="*/ 4145679 h 5143500"/>
              <a:gd name="connsiteX20" fmla="*/ 4413911 w 9144000"/>
              <a:gd name="connsiteY20" fmla="*/ 4196846 h 5143500"/>
              <a:gd name="connsiteX21" fmla="*/ 4465078 w 9144000"/>
              <a:gd name="connsiteY21" fmla="*/ 4248013 h 5143500"/>
              <a:gd name="connsiteX22" fmla="*/ 4471475 w 9144000"/>
              <a:gd name="connsiteY22" fmla="*/ 4248013 h 5143500"/>
              <a:gd name="connsiteX23" fmla="*/ 4522642 w 9144000"/>
              <a:gd name="connsiteY23" fmla="*/ 4299180 h 5143500"/>
              <a:gd name="connsiteX24" fmla="*/ 4522642 w 9144000"/>
              <a:gd name="connsiteY24" fmla="*/ 4305572 h 5143500"/>
              <a:gd name="connsiteX25" fmla="*/ 4573809 w 9144000"/>
              <a:gd name="connsiteY25" fmla="*/ 4356741 h 5143500"/>
              <a:gd name="connsiteX26" fmla="*/ 4624978 w 9144000"/>
              <a:gd name="connsiteY26" fmla="*/ 4305572 h 5143500"/>
              <a:gd name="connsiteX27" fmla="*/ 4624978 w 9144000"/>
              <a:gd name="connsiteY27" fmla="*/ 4299180 h 5143500"/>
              <a:gd name="connsiteX28" fmla="*/ 4676147 w 9144000"/>
              <a:gd name="connsiteY28" fmla="*/ 4248013 h 5143500"/>
              <a:gd name="connsiteX29" fmla="*/ 4682537 w 9144000"/>
              <a:gd name="connsiteY29" fmla="*/ 4248013 h 5143500"/>
              <a:gd name="connsiteX30" fmla="*/ 4733706 w 9144000"/>
              <a:gd name="connsiteY30" fmla="*/ 4196846 h 5143500"/>
              <a:gd name="connsiteX31" fmla="*/ 4682537 w 9144000"/>
              <a:gd name="connsiteY31" fmla="*/ 4145679 h 5143500"/>
              <a:gd name="connsiteX32" fmla="*/ 4676147 w 9144000"/>
              <a:gd name="connsiteY32" fmla="*/ 4145679 h 5143500"/>
              <a:gd name="connsiteX33" fmla="*/ 4624978 w 9144000"/>
              <a:gd name="connsiteY33" fmla="*/ 4094510 h 5143500"/>
              <a:gd name="connsiteX34" fmla="*/ 4624978 w 9144000"/>
              <a:gd name="connsiteY34" fmla="*/ 4088118 h 5143500"/>
              <a:gd name="connsiteX35" fmla="*/ 4573809 w 9144000"/>
              <a:gd name="connsiteY35" fmla="*/ 4036953 h 5143500"/>
              <a:gd name="connsiteX36" fmla="*/ 4573738 w 9144000"/>
              <a:gd name="connsiteY36" fmla="*/ 3915582 h 5143500"/>
              <a:gd name="connsiteX37" fmla="*/ 4522571 w 9144000"/>
              <a:gd name="connsiteY37" fmla="*/ 3966749 h 5143500"/>
              <a:gd name="connsiteX38" fmla="*/ 4573738 w 9144000"/>
              <a:gd name="connsiteY38" fmla="*/ 4017916 h 5143500"/>
              <a:gd name="connsiteX39" fmla="*/ 4624907 w 9144000"/>
              <a:gd name="connsiteY39" fmla="*/ 3966749 h 5143500"/>
              <a:gd name="connsiteX40" fmla="*/ 4573738 w 9144000"/>
              <a:gd name="connsiteY40" fmla="*/ 3915582 h 5143500"/>
              <a:gd name="connsiteX41" fmla="*/ 366713 w 9144000"/>
              <a:gd name="connsiteY41" fmla="*/ 0 h 5143500"/>
              <a:gd name="connsiteX42" fmla="*/ 7513547 w 9144000"/>
              <a:gd name="connsiteY42" fmla="*/ 0 h 5143500"/>
              <a:gd name="connsiteX43" fmla="*/ 7513547 w 9144000"/>
              <a:gd name="connsiteY43" fmla="*/ 411479 h 5143500"/>
              <a:gd name="connsiteX44" fmla="*/ 8778239 w 9144000"/>
              <a:gd name="connsiteY44" fmla="*/ 411479 h 5143500"/>
              <a:gd name="connsiteX45" fmla="*/ 8778239 w 9144000"/>
              <a:gd name="connsiteY45" fmla="*/ 0 h 5143500"/>
              <a:gd name="connsiteX46" fmla="*/ 9144000 w 9144000"/>
              <a:gd name="connsiteY46" fmla="*/ 0 h 5143500"/>
              <a:gd name="connsiteX47" fmla="*/ 9144000 w 9144000"/>
              <a:gd name="connsiteY47" fmla="*/ 5143500 h 5143500"/>
              <a:gd name="connsiteX48" fmla="*/ 0 w 9144000"/>
              <a:gd name="connsiteY48" fmla="*/ 5143500 h 5143500"/>
              <a:gd name="connsiteX49" fmla="*/ 0 w 9144000"/>
              <a:gd name="connsiteY49" fmla="*/ 204789 h 5143500"/>
              <a:gd name="connsiteX50" fmla="*/ 366713 w 9144000"/>
              <a:gd name="connsiteY50" fmla="*/ 20478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144000" h="5143500">
                <a:moveTo>
                  <a:pt x="4573738" y="4375818"/>
                </a:moveTo>
                <a:cubicBezTo>
                  <a:pt x="4545480" y="4375818"/>
                  <a:pt x="4522571" y="4398727"/>
                  <a:pt x="4522571" y="4426985"/>
                </a:cubicBezTo>
                <a:cubicBezTo>
                  <a:pt x="4522571" y="4455246"/>
                  <a:pt x="4545480" y="4478152"/>
                  <a:pt x="4573738" y="4478152"/>
                </a:cubicBezTo>
                <a:cubicBezTo>
                  <a:pt x="4602001" y="4478152"/>
                  <a:pt x="4624907" y="4455246"/>
                  <a:pt x="4624907" y="4426985"/>
                </a:cubicBezTo>
                <a:cubicBezTo>
                  <a:pt x="4624907" y="4398727"/>
                  <a:pt x="4602001" y="4375818"/>
                  <a:pt x="4573738" y="4375818"/>
                </a:cubicBezTo>
                <a:close/>
                <a:moveTo>
                  <a:pt x="4804126" y="4145701"/>
                </a:moveTo>
                <a:cubicBezTo>
                  <a:pt x="4775868" y="4145701"/>
                  <a:pt x="4752959" y="4168610"/>
                  <a:pt x="4752959" y="4196868"/>
                </a:cubicBezTo>
                <a:cubicBezTo>
                  <a:pt x="4752959" y="4225129"/>
                  <a:pt x="4775868" y="4248035"/>
                  <a:pt x="4804126" y="4248035"/>
                </a:cubicBezTo>
                <a:cubicBezTo>
                  <a:pt x="4832387" y="4248035"/>
                  <a:pt x="4855293" y="4225129"/>
                  <a:pt x="4855293" y="4196868"/>
                </a:cubicBezTo>
                <a:cubicBezTo>
                  <a:pt x="4855293" y="4168610"/>
                  <a:pt x="4832387" y="4145701"/>
                  <a:pt x="4804126" y="4145701"/>
                </a:cubicBezTo>
                <a:close/>
                <a:moveTo>
                  <a:pt x="4343349" y="4145701"/>
                </a:moveTo>
                <a:cubicBezTo>
                  <a:pt x="4315091" y="4145701"/>
                  <a:pt x="4292182" y="4168610"/>
                  <a:pt x="4292182" y="4196868"/>
                </a:cubicBezTo>
                <a:cubicBezTo>
                  <a:pt x="4292182" y="4225129"/>
                  <a:pt x="4315091" y="4248035"/>
                  <a:pt x="4343349" y="4248035"/>
                </a:cubicBezTo>
                <a:cubicBezTo>
                  <a:pt x="4371610" y="4248035"/>
                  <a:pt x="4394516" y="4225129"/>
                  <a:pt x="4394516" y="4196868"/>
                </a:cubicBezTo>
                <a:cubicBezTo>
                  <a:pt x="4394516" y="4168610"/>
                  <a:pt x="4371610" y="4145701"/>
                  <a:pt x="4343349" y="4145701"/>
                </a:cubicBezTo>
                <a:close/>
                <a:moveTo>
                  <a:pt x="4573809" y="4036953"/>
                </a:moveTo>
                <a:cubicBezTo>
                  <a:pt x="4545553" y="4036953"/>
                  <a:pt x="4522642" y="4059862"/>
                  <a:pt x="4522642" y="4088118"/>
                </a:cubicBezTo>
                <a:lnTo>
                  <a:pt x="4522642" y="4094510"/>
                </a:lnTo>
                <a:cubicBezTo>
                  <a:pt x="4522642" y="4122773"/>
                  <a:pt x="4499735" y="4145677"/>
                  <a:pt x="4471475" y="4145677"/>
                </a:cubicBezTo>
                <a:lnTo>
                  <a:pt x="4465078" y="4145679"/>
                </a:lnTo>
                <a:cubicBezTo>
                  <a:pt x="4436820" y="4145679"/>
                  <a:pt x="4413911" y="4168585"/>
                  <a:pt x="4413911" y="4196846"/>
                </a:cubicBezTo>
                <a:cubicBezTo>
                  <a:pt x="4413911" y="4225107"/>
                  <a:pt x="4436820" y="4248013"/>
                  <a:pt x="4465078" y="4248013"/>
                </a:cubicBezTo>
                <a:lnTo>
                  <a:pt x="4471475" y="4248013"/>
                </a:lnTo>
                <a:cubicBezTo>
                  <a:pt x="4499735" y="4248013"/>
                  <a:pt x="4522642" y="4270919"/>
                  <a:pt x="4522642" y="4299180"/>
                </a:cubicBezTo>
                <a:lnTo>
                  <a:pt x="4522642" y="4305572"/>
                </a:lnTo>
                <a:cubicBezTo>
                  <a:pt x="4522642" y="4333835"/>
                  <a:pt x="4545553" y="4356741"/>
                  <a:pt x="4573809" y="4356741"/>
                </a:cubicBezTo>
                <a:cubicBezTo>
                  <a:pt x="4602072" y="4356741"/>
                  <a:pt x="4624978" y="4333835"/>
                  <a:pt x="4624978" y="4305572"/>
                </a:cubicBezTo>
                <a:lnTo>
                  <a:pt x="4624978" y="4299180"/>
                </a:lnTo>
                <a:cubicBezTo>
                  <a:pt x="4624978" y="4270919"/>
                  <a:pt x="4647886" y="4248013"/>
                  <a:pt x="4676147" y="4248013"/>
                </a:cubicBezTo>
                <a:lnTo>
                  <a:pt x="4682537" y="4248013"/>
                </a:lnTo>
                <a:cubicBezTo>
                  <a:pt x="4710798" y="4248013"/>
                  <a:pt x="4733706" y="4225107"/>
                  <a:pt x="4733706" y="4196846"/>
                </a:cubicBezTo>
                <a:cubicBezTo>
                  <a:pt x="4733706" y="4168585"/>
                  <a:pt x="4710798" y="4145679"/>
                  <a:pt x="4682537" y="4145679"/>
                </a:cubicBezTo>
                <a:lnTo>
                  <a:pt x="4676147" y="4145679"/>
                </a:lnTo>
                <a:cubicBezTo>
                  <a:pt x="4647886" y="4145679"/>
                  <a:pt x="4624978" y="4122773"/>
                  <a:pt x="4624978" y="4094510"/>
                </a:cubicBezTo>
                <a:lnTo>
                  <a:pt x="4624978" y="4088118"/>
                </a:lnTo>
                <a:cubicBezTo>
                  <a:pt x="4624978" y="4059862"/>
                  <a:pt x="4602072" y="4036953"/>
                  <a:pt x="4573809" y="4036953"/>
                </a:cubicBezTo>
                <a:close/>
                <a:moveTo>
                  <a:pt x="4573738" y="3915582"/>
                </a:moveTo>
                <a:cubicBezTo>
                  <a:pt x="4545480" y="3915582"/>
                  <a:pt x="4522571" y="3938491"/>
                  <a:pt x="4522571" y="3966749"/>
                </a:cubicBezTo>
                <a:cubicBezTo>
                  <a:pt x="4522571" y="3995010"/>
                  <a:pt x="4545480" y="4017916"/>
                  <a:pt x="4573738" y="4017916"/>
                </a:cubicBezTo>
                <a:cubicBezTo>
                  <a:pt x="4602001" y="4017916"/>
                  <a:pt x="4624907" y="3995010"/>
                  <a:pt x="4624907" y="3966749"/>
                </a:cubicBezTo>
                <a:cubicBezTo>
                  <a:pt x="4624907" y="3938491"/>
                  <a:pt x="4602001" y="3915582"/>
                  <a:pt x="4573738" y="3915582"/>
                </a:cubicBezTo>
                <a:close/>
                <a:moveTo>
                  <a:pt x="366713" y="0"/>
                </a:moveTo>
                <a:lnTo>
                  <a:pt x="7513547" y="0"/>
                </a:lnTo>
                <a:lnTo>
                  <a:pt x="7513547" y="411479"/>
                </a:lnTo>
                <a:lnTo>
                  <a:pt x="8778239" y="411479"/>
                </a:lnTo>
                <a:lnTo>
                  <a:pt x="8778239" y="0"/>
                </a:lnTo>
                <a:lnTo>
                  <a:pt x="9144000" y="0"/>
                </a:lnTo>
                <a:lnTo>
                  <a:pt x="9144000" y="5143500"/>
                </a:lnTo>
                <a:lnTo>
                  <a:pt x="0" y="5143500"/>
                </a:lnTo>
                <a:lnTo>
                  <a:pt x="0" y="204789"/>
                </a:lnTo>
                <a:lnTo>
                  <a:pt x="366713" y="204789"/>
                </a:lnTo>
                <a:close/>
              </a:path>
            </a:pathLst>
          </a:custGeom>
          <a:blipFill>
            <a:blip r:embed="rId6"/>
            <a:stretch>
              <a:fillRect/>
            </a:stretch>
          </a:blipFill>
        </p:spPr>
        <p:txBody>
          <a:bodyPr wrap="square" lIns="4428000" rIns="0" anchor="ctr">
            <a:noAutofit/>
          </a:bodyPr>
          <a:lstStyle>
            <a:lvl1pPr marL="0" indent="0" algn="ctr" rtl="0">
              <a:buNone/>
              <a:defRPr>
                <a:solidFill>
                  <a:schemeClr val="bg1"/>
                </a:solidFill>
              </a:defRPr>
            </a:lvl1pPr>
          </a:lstStyle>
          <a:p>
            <a:r>
              <a:rPr lang="de-DE" dirty="0"/>
              <a:t>Bild hinzufügen</a:t>
            </a:r>
          </a:p>
        </p:txBody>
      </p:sp>
      <p:sp>
        <p:nvSpPr>
          <p:cNvPr id="17" name="Text Placeholder 16">
            <a:extLst>
              <a:ext uri="{FF2B5EF4-FFF2-40B4-BE49-F238E27FC236}">
                <a16:creationId xmlns:a16="http://schemas.microsoft.com/office/drawing/2014/main" id="{97D90425-B5E3-40D4-983D-00BD03550A90}"/>
              </a:ext>
            </a:extLst>
          </p:cNvPr>
          <p:cNvSpPr>
            <a:spLocks noGrp="1"/>
          </p:cNvSpPr>
          <p:nvPr>
            <p:ph type="body" sz="quarter" idx="19" hasCustomPrompt="1"/>
          </p:nvPr>
        </p:nvSpPr>
        <p:spPr>
          <a:xfrm>
            <a:off x="366713" y="617539"/>
            <a:ext cx="4205287" cy="4114800"/>
          </a:xfrm>
          <a:custGeom>
            <a:avLst/>
            <a:gdLst>
              <a:gd name="connsiteX0" fmla="*/ 3976636 w 4205287"/>
              <a:gd name="connsiteY0" fmla="*/ 3528162 h 4114800"/>
              <a:gd name="connsiteX1" fmla="*/ 3925469 w 4205287"/>
              <a:gd name="connsiteY1" fmla="*/ 3579329 h 4114800"/>
              <a:gd name="connsiteX2" fmla="*/ 3976636 w 4205287"/>
              <a:gd name="connsiteY2" fmla="*/ 3630496 h 4114800"/>
              <a:gd name="connsiteX3" fmla="*/ 4027803 w 4205287"/>
              <a:gd name="connsiteY3" fmla="*/ 3579329 h 4114800"/>
              <a:gd name="connsiteX4" fmla="*/ 3976636 w 4205287"/>
              <a:gd name="connsiteY4" fmla="*/ 3528162 h 4114800"/>
              <a:gd name="connsiteX5" fmla="*/ 0 w 4205287"/>
              <a:gd name="connsiteY5" fmla="*/ 0 h 4114800"/>
              <a:gd name="connsiteX6" fmla="*/ 4205287 w 4205287"/>
              <a:gd name="connsiteY6" fmla="*/ 0 h 4114800"/>
              <a:gd name="connsiteX7" fmla="*/ 4205287 w 4205287"/>
              <a:gd name="connsiteY7" fmla="*/ 3298394 h 4114800"/>
              <a:gd name="connsiteX8" fmla="*/ 4187109 w 4205287"/>
              <a:gd name="connsiteY8" fmla="*/ 3302064 h 4114800"/>
              <a:gd name="connsiteX9" fmla="*/ 4155858 w 4205287"/>
              <a:gd name="connsiteY9" fmla="*/ 3349210 h 4114800"/>
              <a:gd name="connsiteX10" fmla="*/ 4187109 w 4205287"/>
              <a:gd name="connsiteY10" fmla="*/ 3396357 h 4114800"/>
              <a:gd name="connsiteX11" fmla="*/ 4205287 w 4205287"/>
              <a:gd name="connsiteY11" fmla="*/ 3400026 h 4114800"/>
              <a:gd name="connsiteX12" fmla="*/ 4205287 w 4205287"/>
              <a:gd name="connsiteY12" fmla="*/ 3419779 h 4114800"/>
              <a:gd name="connsiteX13" fmla="*/ 4187181 w 4205287"/>
              <a:gd name="connsiteY13" fmla="*/ 3423435 h 4114800"/>
              <a:gd name="connsiteX14" fmla="*/ 4155929 w 4205287"/>
              <a:gd name="connsiteY14" fmla="*/ 3470579 h 4114800"/>
              <a:gd name="connsiteX15" fmla="*/ 4155929 w 4205287"/>
              <a:gd name="connsiteY15" fmla="*/ 3476971 h 4114800"/>
              <a:gd name="connsiteX16" fmla="*/ 4104762 w 4205287"/>
              <a:gd name="connsiteY16" fmla="*/ 3528138 h 4114800"/>
              <a:gd name="connsiteX17" fmla="*/ 4098365 w 4205287"/>
              <a:gd name="connsiteY17" fmla="*/ 3528140 h 4114800"/>
              <a:gd name="connsiteX18" fmla="*/ 4047198 w 4205287"/>
              <a:gd name="connsiteY18" fmla="*/ 3579307 h 4114800"/>
              <a:gd name="connsiteX19" fmla="*/ 4098365 w 4205287"/>
              <a:gd name="connsiteY19" fmla="*/ 3630474 h 4114800"/>
              <a:gd name="connsiteX20" fmla="*/ 4104762 w 4205287"/>
              <a:gd name="connsiteY20" fmla="*/ 3630474 h 4114800"/>
              <a:gd name="connsiteX21" fmla="*/ 4155929 w 4205287"/>
              <a:gd name="connsiteY21" fmla="*/ 3681641 h 4114800"/>
              <a:gd name="connsiteX22" fmla="*/ 4155929 w 4205287"/>
              <a:gd name="connsiteY22" fmla="*/ 3688033 h 4114800"/>
              <a:gd name="connsiteX23" fmla="*/ 4187181 w 4205287"/>
              <a:gd name="connsiteY23" fmla="*/ 3735182 h 4114800"/>
              <a:gd name="connsiteX24" fmla="*/ 4205287 w 4205287"/>
              <a:gd name="connsiteY24" fmla="*/ 3738837 h 4114800"/>
              <a:gd name="connsiteX25" fmla="*/ 4205287 w 4205287"/>
              <a:gd name="connsiteY25" fmla="*/ 3758630 h 4114800"/>
              <a:gd name="connsiteX26" fmla="*/ 4187109 w 4205287"/>
              <a:gd name="connsiteY26" fmla="*/ 3762300 h 4114800"/>
              <a:gd name="connsiteX27" fmla="*/ 4155858 w 4205287"/>
              <a:gd name="connsiteY27" fmla="*/ 3809446 h 4114800"/>
              <a:gd name="connsiteX28" fmla="*/ 4187109 w 4205287"/>
              <a:gd name="connsiteY28" fmla="*/ 3856593 h 4114800"/>
              <a:gd name="connsiteX29" fmla="*/ 4205287 w 4205287"/>
              <a:gd name="connsiteY29" fmla="*/ 3860262 h 4114800"/>
              <a:gd name="connsiteX30" fmla="*/ 4205287 w 4205287"/>
              <a:gd name="connsiteY30" fmla="*/ 4114800 h 4114800"/>
              <a:gd name="connsiteX31" fmla="*/ 0 w 4205287"/>
              <a:gd name="connsiteY31" fmla="*/ 411480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05287" h="4114800">
                <a:moveTo>
                  <a:pt x="3976636" y="3528162"/>
                </a:moveTo>
                <a:cubicBezTo>
                  <a:pt x="3948378" y="3528162"/>
                  <a:pt x="3925469" y="3551071"/>
                  <a:pt x="3925469" y="3579329"/>
                </a:cubicBezTo>
                <a:cubicBezTo>
                  <a:pt x="3925469" y="3607590"/>
                  <a:pt x="3948378" y="3630496"/>
                  <a:pt x="3976636" y="3630496"/>
                </a:cubicBezTo>
                <a:cubicBezTo>
                  <a:pt x="4004897" y="3630496"/>
                  <a:pt x="4027803" y="3607590"/>
                  <a:pt x="4027803" y="3579329"/>
                </a:cubicBezTo>
                <a:cubicBezTo>
                  <a:pt x="4027803" y="3551071"/>
                  <a:pt x="4004897" y="3528162"/>
                  <a:pt x="3976636" y="3528162"/>
                </a:cubicBezTo>
                <a:close/>
                <a:moveTo>
                  <a:pt x="0" y="0"/>
                </a:moveTo>
                <a:lnTo>
                  <a:pt x="4205287" y="0"/>
                </a:lnTo>
                <a:lnTo>
                  <a:pt x="4205287" y="3298394"/>
                </a:lnTo>
                <a:lnTo>
                  <a:pt x="4187109" y="3302064"/>
                </a:lnTo>
                <a:cubicBezTo>
                  <a:pt x="4168745" y="3309832"/>
                  <a:pt x="4155858" y="3328017"/>
                  <a:pt x="4155858" y="3349210"/>
                </a:cubicBezTo>
                <a:cubicBezTo>
                  <a:pt x="4155858" y="3370406"/>
                  <a:pt x="4168745" y="3388589"/>
                  <a:pt x="4187109" y="3396357"/>
                </a:cubicBezTo>
                <a:lnTo>
                  <a:pt x="4205287" y="3400026"/>
                </a:lnTo>
                <a:lnTo>
                  <a:pt x="4205287" y="3419779"/>
                </a:lnTo>
                <a:lnTo>
                  <a:pt x="4187181" y="3423435"/>
                </a:lnTo>
                <a:cubicBezTo>
                  <a:pt x="4168817" y="3431203"/>
                  <a:pt x="4155929" y="3449387"/>
                  <a:pt x="4155929" y="3470579"/>
                </a:cubicBezTo>
                <a:lnTo>
                  <a:pt x="4155929" y="3476971"/>
                </a:lnTo>
                <a:cubicBezTo>
                  <a:pt x="4155929" y="3505234"/>
                  <a:pt x="4133022" y="3528138"/>
                  <a:pt x="4104762" y="3528138"/>
                </a:cubicBezTo>
                <a:lnTo>
                  <a:pt x="4098365" y="3528140"/>
                </a:lnTo>
                <a:cubicBezTo>
                  <a:pt x="4070107" y="3528140"/>
                  <a:pt x="4047198" y="3551046"/>
                  <a:pt x="4047198" y="3579307"/>
                </a:cubicBezTo>
                <a:cubicBezTo>
                  <a:pt x="4047198" y="3607568"/>
                  <a:pt x="4070107" y="3630474"/>
                  <a:pt x="4098365" y="3630474"/>
                </a:cubicBezTo>
                <a:lnTo>
                  <a:pt x="4104762" y="3630474"/>
                </a:lnTo>
                <a:cubicBezTo>
                  <a:pt x="4133022" y="3630474"/>
                  <a:pt x="4155929" y="3653380"/>
                  <a:pt x="4155929" y="3681641"/>
                </a:cubicBezTo>
                <a:lnTo>
                  <a:pt x="4155929" y="3688033"/>
                </a:lnTo>
                <a:cubicBezTo>
                  <a:pt x="4155929" y="3709230"/>
                  <a:pt x="4168817" y="3727414"/>
                  <a:pt x="4187181" y="3735182"/>
                </a:cubicBezTo>
                <a:lnTo>
                  <a:pt x="4205287" y="3738837"/>
                </a:lnTo>
                <a:lnTo>
                  <a:pt x="4205287" y="3758630"/>
                </a:lnTo>
                <a:lnTo>
                  <a:pt x="4187109" y="3762300"/>
                </a:lnTo>
                <a:cubicBezTo>
                  <a:pt x="4168745" y="3770068"/>
                  <a:pt x="4155858" y="3788253"/>
                  <a:pt x="4155858" y="3809446"/>
                </a:cubicBezTo>
                <a:cubicBezTo>
                  <a:pt x="4155858" y="3830642"/>
                  <a:pt x="4168745" y="3848826"/>
                  <a:pt x="4187109" y="3856593"/>
                </a:cubicBezTo>
                <a:lnTo>
                  <a:pt x="4205287" y="3860262"/>
                </a:lnTo>
                <a:lnTo>
                  <a:pt x="4205287" y="4114800"/>
                </a:lnTo>
                <a:lnTo>
                  <a:pt x="0" y="4114800"/>
                </a:lnTo>
                <a:close/>
              </a:path>
            </a:pathLst>
          </a:custGeom>
          <a:solidFill>
            <a:schemeClr val="accent3">
              <a:alpha val="80000"/>
            </a:schemeClr>
          </a:solidFill>
        </p:spPr>
        <p:txBody>
          <a:bodyPr wrap="square" lIns="360000" tIns="360000" rIns="360000" anchor="t">
            <a:noAutofit/>
          </a:bodyPr>
          <a:lstStyle>
            <a:lvl1pPr marL="0" indent="0" rtl="0">
              <a:spcAft>
                <a:spcPts val="0"/>
              </a:spcAft>
              <a:buClr>
                <a:schemeClr val="bg1"/>
              </a:buClr>
              <a:buSzPct val="100000"/>
              <a:buFont typeface="+mj-lt"/>
              <a:buNone/>
              <a:defRPr sz="2000" b="1">
                <a:solidFill>
                  <a:schemeClr val="bg1"/>
                </a:solidFill>
              </a:defRPr>
            </a:lvl1pPr>
            <a:lvl2pPr marL="0" indent="0">
              <a:buFont typeface="Arial" panose="020B0604020202020204" pitchFamily="34" charset="0"/>
              <a:buNone/>
              <a:defRPr>
                <a:solidFill>
                  <a:schemeClr val="bg1"/>
                </a:solidFill>
              </a:defRPr>
            </a:lvl2pPr>
            <a:lvl3pPr marL="0" indent="0">
              <a:buFont typeface="Arial" panose="020B0604020202020204" pitchFamily="34" charset="0"/>
              <a:buNone/>
              <a:defRPr>
                <a:solidFill>
                  <a:schemeClr val="bg1"/>
                </a:solidFill>
              </a:defRPr>
            </a:lvl3pPr>
            <a:lvl4pPr marL="0" indent="0">
              <a:buFont typeface="Arial" panose="020B0604020202020204" pitchFamily="34" charset="0"/>
              <a:buNone/>
              <a:defRPr>
                <a:solidFill>
                  <a:schemeClr val="bg1"/>
                </a:solidFill>
              </a:defRPr>
            </a:lvl4pPr>
            <a:lvl5pPr marL="0" indent="0">
              <a:buFont typeface="Arial" panose="020B0604020202020204" pitchFamily="34" charset="0"/>
              <a:buNone/>
              <a:defRPr>
                <a:solidFill>
                  <a:schemeClr val="bg1"/>
                </a:solidFill>
              </a:defRPr>
            </a:lvl5pPr>
          </a:lstStyle>
          <a:p>
            <a:pPr lvl="0"/>
            <a:r>
              <a:rPr lang="de-DE" dirty="0"/>
              <a:t>Name Nachname</a:t>
            </a:r>
          </a:p>
        </p:txBody>
      </p:sp>
      <p:pic>
        <p:nvPicPr>
          <p:cNvPr id="14" name="Graphic 13">
            <a:extLst>
              <a:ext uri="{FF2B5EF4-FFF2-40B4-BE49-F238E27FC236}">
                <a16:creationId xmlns:a16="http://schemas.microsoft.com/office/drawing/2014/main" id="{43CD198E-4F0F-457A-9B03-F4B60CE74421}"/>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513547" y="0"/>
            <a:ext cx="1264692" cy="411479"/>
          </a:xfrm>
          <a:prstGeom prst="rect">
            <a:avLst/>
          </a:prstGeom>
        </p:spPr>
      </p:pic>
      <p:sp>
        <p:nvSpPr>
          <p:cNvPr id="11" name="Title 10">
            <a:extLst>
              <a:ext uri="{FF2B5EF4-FFF2-40B4-BE49-F238E27FC236}">
                <a16:creationId xmlns:a16="http://schemas.microsoft.com/office/drawing/2014/main" id="{A4245064-89E6-4914-B4F5-1382458929F3}"/>
              </a:ext>
            </a:extLst>
          </p:cNvPr>
          <p:cNvSpPr>
            <a:spLocks noGrp="1"/>
          </p:cNvSpPr>
          <p:nvPr>
            <p:ph type="title" hasCustomPrompt="1"/>
          </p:nvPr>
        </p:nvSpPr>
        <p:spPr>
          <a:xfrm>
            <a:off x="731839" y="224577"/>
            <a:ext cx="3840161" cy="252377"/>
          </a:xfrm>
        </p:spPr>
        <p:txBody>
          <a:bodyPr vert="horz">
            <a:noAutofit/>
          </a:bodyPr>
          <a:lstStyle>
            <a:lvl1pPr rtl="0">
              <a:defRPr cap="all" baseline="0">
                <a:solidFill>
                  <a:schemeClr val="bg1"/>
                </a:solidFill>
              </a:defRPr>
            </a:lvl1pPr>
          </a:lstStyle>
          <a:p>
            <a:r>
              <a:rPr lang="de-DE" noProof="0" dirty="0"/>
              <a:t>Titel hinzufügen</a:t>
            </a:r>
            <a:endParaRPr lang="de-DE" dirty="0"/>
          </a:p>
        </p:txBody>
      </p:sp>
      <p:sp>
        <p:nvSpPr>
          <p:cNvPr id="3" name="Text Placeholder 2">
            <a:extLst>
              <a:ext uri="{FF2B5EF4-FFF2-40B4-BE49-F238E27FC236}">
                <a16:creationId xmlns:a16="http://schemas.microsoft.com/office/drawing/2014/main" id="{6A303536-CB65-47CF-B583-12577C31EEA5}"/>
              </a:ext>
            </a:extLst>
          </p:cNvPr>
          <p:cNvSpPr>
            <a:spLocks noGrp="1"/>
          </p:cNvSpPr>
          <p:nvPr>
            <p:ph type="body" sz="quarter" idx="20" hasCustomPrompt="1"/>
          </p:nvPr>
        </p:nvSpPr>
        <p:spPr>
          <a:xfrm>
            <a:off x="731838" y="1645444"/>
            <a:ext cx="3292475" cy="851515"/>
          </a:xfrm>
        </p:spPr>
        <p:txBody>
          <a:bodyPr>
            <a:noAutofit/>
          </a:bodyPr>
          <a:lstStyle>
            <a:lvl1pPr marL="0" indent="0" rtl="0">
              <a:buNone/>
              <a:defRPr>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dirty="0"/>
              <a:t>Info</a:t>
            </a:r>
          </a:p>
        </p:txBody>
      </p:sp>
      <p:sp>
        <p:nvSpPr>
          <p:cNvPr id="13" name="Text Placeholder 15">
            <a:extLst>
              <a:ext uri="{FF2B5EF4-FFF2-40B4-BE49-F238E27FC236}">
                <a16:creationId xmlns:a16="http://schemas.microsoft.com/office/drawing/2014/main" id="{C48E216B-294C-400D-AD7A-E54F8115177E}"/>
              </a:ext>
            </a:extLst>
          </p:cNvPr>
          <p:cNvSpPr>
            <a:spLocks noGrp="1"/>
          </p:cNvSpPr>
          <p:nvPr>
            <p:ph type="body" sz="quarter" idx="21" hasCustomPrompt="1"/>
          </p:nvPr>
        </p:nvSpPr>
        <p:spPr>
          <a:xfrm>
            <a:off x="731838" y="2788971"/>
            <a:ext cx="3458767" cy="28800"/>
          </a:xfrm>
          <a:solidFill>
            <a:schemeClr val="bg1"/>
          </a:solidFill>
        </p:spPr>
        <p:txBody>
          <a:bodyPr/>
          <a:lstStyle>
            <a:lvl1pPr marL="0" indent="0" rtl="0">
              <a:buNone/>
              <a:defRPr sz="100">
                <a:solidFill>
                  <a:schemeClr val="tx1">
                    <a:alpha val="0"/>
                  </a:schemeClr>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dirty="0"/>
              <a:t>.</a:t>
            </a:r>
          </a:p>
        </p:txBody>
      </p:sp>
      <p:sp>
        <p:nvSpPr>
          <p:cNvPr id="22" name="Picture Placeholder 45">
            <a:extLst>
              <a:ext uri="{FF2B5EF4-FFF2-40B4-BE49-F238E27FC236}">
                <a16:creationId xmlns:a16="http://schemas.microsoft.com/office/drawing/2014/main" id="{03BACD4D-1A9A-425A-B67F-016874306E55}"/>
              </a:ext>
            </a:extLst>
          </p:cNvPr>
          <p:cNvSpPr>
            <a:spLocks noGrp="1"/>
          </p:cNvSpPr>
          <p:nvPr>
            <p:ph type="pic" sz="quarter" idx="23" hasCustomPrompt="1"/>
          </p:nvPr>
        </p:nvSpPr>
        <p:spPr>
          <a:xfrm>
            <a:off x="3709796" y="840326"/>
            <a:ext cx="1003300" cy="1004400"/>
          </a:xfrm>
          <a:prstGeom prst="ellipse">
            <a:avLst/>
          </a:prstGeom>
          <a:solidFill>
            <a:schemeClr val="accent4">
              <a:lumMod val="20000"/>
              <a:lumOff val="80000"/>
            </a:schemeClr>
          </a:solidFill>
          <a:ln w="25400">
            <a:solidFill>
              <a:schemeClr val="bg1"/>
            </a:solidFill>
            <a:miter lim="800000"/>
          </a:ln>
        </p:spPr>
        <p:txBody>
          <a:bodyPr anchor="ctr"/>
          <a:lstStyle>
            <a:lvl1pPr marL="0" indent="0" algn="ctr" rtl="0">
              <a:buNone/>
              <a:defRPr sz="1200"/>
            </a:lvl1pPr>
          </a:lstStyle>
          <a:p>
            <a:r>
              <a:rPr lang="de-DE" dirty="0"/>
              <a:t>Bild hinzufügen</a:t>
            </a:r>
          </a:p>
        </p:txBody>
      </p:sp>
      <p:sp>
        <p:nvSpPr>
          <p:cNvPr id="12" name="Text Placeholder 9">
            <a:extLst>
              <a:ext uri="{FF2B5EF4-FFF2-40B4-BE49-F238E27FC236}">
                <a16:creationId xmlns:a16="http://schemas.microsoft.com/office/drawing/2014/main" id="{A3EF0319-E761-4E12-9662-99826FEA31BC}"/>
              </a:ext>
            </a:extLst>
          </p:cNvPr>
          <p:cNvSpPr>
            <a:spLocks noGrp="1"/>
          </p:cNvSpPr>
          <p:nvPr>
            <p:ph type="body" sz="quarter" idx="14" hasCustomPrompt="1"/>
          </p:nvPr>
        </p:nvSpPr>
        <p:spPr>
          <a:xfrm>
            <a:off x="1098550" y="4938713"/>
            <a:ext cx="6948488" cy="204787"/>
          </a:xfrm>
        </p:spPr>
        <p:txBody>
          <a:bodyPr anchor="ctr">
            <a:noAutofit/>
          </a:bodyPr>
          <a:lstStyle>
            <a:lvl1pPr marL="0" indent="0" rtl="0">
              <a:spcAft>
                <a:spcPts val="0"/>
              </a:spcAft>
              <a:buNone/>
              <a:defRPr sz="600">
                <a:solidFill>
                  <a:schemeClr val="bg1"/>
                </a:solidFill>
              </a:defRPr>
            </a:lvl1pPr>
            <a:lvl2pPr marL="0" indent="0">
              <a:spcAft>
                <a:spcPts val="0"/>
              </a:spcAft>
              <a:buFont typeface="Arial" panose="020B0604020202020204" pitchFamily="34" charset="0"/>
              <a:buNone/>
              <a:defRPr sz="600"/>
            </a:lvl2pPr>
            <a:lvl3pPr marL="0" indent="0">
              <a:spcAft>
                <a:spcPts val="0"/>
              </a:spcAft>
              <a:buFont typeface="Arial" panose="020B0604020202020204" pitchFamily="34" charset="0"/>
              <a:buNone/>
              <a:defRPr sz="600"/>
            </a:lvl3pPr>
          </a:lstStyle>
          <a:p>
            <a:pPr lvl="0"/>
            <a:r>
              <a:rPr lang="de-DE" noProof="0" dirty="0"/>
              <a:t>Quelle: </a:t>
            </a:r>
          </a:p>
        </p:txBody>
      </p:sp>
      <p:sp>
        <p:nvSpPr>
          <p:cNvPr id="15" name="Text Placeholder 2">
            <a:extLst>
              <a:ext uri="{FF2B5EF4-FFF2-40B4-BE49-F238E27FC236}">
                <a16:creationId xmlns:a16="http://schemas.microsoft.com/office/drawing/2014/main" id="{F31EFAE8-B36B-4CC5-9124-8CEF24F141B9}"/>
              </a:ext>
            </a:extLst>
          </p:cNvPr>
          <p:cNvSpPr>
            <a:spLocks noGrp="1"/>
          </p:cNvSpPr>
          <p:nvPr>
            <p:ph type="body" sz="quarter" idx="24" hasCustomPrompt="1"/>
          </p:nvPr>
        </p:nvSpPr>
        <p:spPr>
          <a:xfrm>
            <a:off x="731838" y="3001368"/>
            <a:ext cx="3292475" cy="1584695"/>
          </a:xfrm>
        </p:spPr>
        <p:txBody>
          <a:bodyPr>
            <a:noAutofit/>
          </a:bodyPr>
          <a:lstStyle>
            <a:lvl1pPr marL="0" indent="0" rtl="0">
              <a:buNone/>
              <a:defRPr sz="2000" b="1">
                <a:solidFill>
                  <a:schemeClr val="bg1"/>
                </a:solidFill>
              </a:defRPr>
            </a:lvl1pPr>
            <a:lvl2pPr marL="0" indent="0">
              <a:buFont typeface="Arial" panose="020B0604020202020204" pitchFamily="34" charset="0"/>
              <a:buNone/>
              <a:defRPr>
                <a:solidFill>
                  <a:schemeClr val="bg1"/>
                </a:solidFill>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dirty="0"/>
              <a:t>Firmenname</a:t>
            </a:r>
          </a:p>
          <a:p>
            <a:pPr lvl="1"/>
            <a:r>
              <a:rPr lang="de-DE" dirty="0"/>
              <a:t>Info</a:t>
            </a:r>
          </a:p>
        </p:txBody>
      </p:sp>
      <p:sp>
        <p:nvSpPr>
          <p:cNvPr id="21" name="Text Placeholder 31">
            <a:extLst>
              <a:ext uri="{FF2B5EF4-FFF2-40B4-BE49-F238E27FC236}">
                <a16:creationId xmlns:a16="http://schemas.microsoft.com/office/drawing/2014/main" id="{5B521E75-770A-4B93-B590-53EE4A6EE96B}"/>
              </a:ext>
            </a:extLst>
          </p:cNvPr>
          <p:cNvSpPr>
            <a:spLocks noGrp="1"/>
          </p:cNvSpPr>
          <p:nvPr>
            <p:ph type="body" sz="quarter" idx="22" hasCustomPrompt="1"/>
          </p:nvPr>
        </p:nvSpPr>
        <p:spPr>
          <a:xfrm>
            <a:off x="3308023" y="3800811"/>
            <a:ext cx="476166" cy="725150"/>
          </a:xfrm>
          <a:blipFill>
            <a:blip r:embed="rId9" cstate="screen">
              <a:extLst>
                <a:ext uri="{28A0092B-C50C-407E-A947-70E740481C1C}">
                  <a14:useLocalDpi xmlns:a14="http://schemas.microsoft.com/office/drawing/2010/main"/>
                </a:ext>
              </a:extLst>
            </a:blip>
            <a:stretch>
              <a:fillRect/>
            </a:stretch>
          </a:blipFill>
        </p:spPr>
        <p:txBody>
          <a:bodyPr/>
          <a:lstStyle>
            <a:lvl1pPr marL="0" indent="0" rtl="0">
              <a:buNone/>
              <a:defRPr sz="100">
                <a:solidFill>
                  <a:schemeClr val="tx1">
                    <a:alpha val="0"/>
                  </a:schemeClr>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dirty="0"/>
              <a:t>.</a:t>
            </a:r>
          </a:p>
        </p:txBody>
      </p:sp>
    </p:spTree>
    <p:extLst>
      <p:ext uri="{BB962C8B-B14F-4D97-AF65-F5344CB8AC3E}">
        <p14:creationId xmlns:p14="http://schemas.microsoft.com/office/powerpoint/2010/main" val="3235424358"/>
      </p:ext>
    </p:extLst>
  </p:cSld>
  <p:clrMapOvr>
    <a:masterClrMapping/>
  </p:clrMapOvr>
  <p:extLst>
    <p:ext uri="{DCECCB84-F9BA-43D5-87BE-67443E8EF086}">
      <p15:sldGuideLst xmlns:p15="http://schemas.microsoft.com/office/powerpoint/2012/main">
        <p15:guide id="1" pos="2880">
          <p15:clr>
            <a:srgbClr val="F26B43"/>
          </p15:clr>
        </p15:guide>
        <p15:guide id="2" orient="horz" pos="389">
          <p15:clr>
            <a:srgbClr val="F26B43"/>
          </p15:clr>
        </p15:guide>
        <p15:guide id="3" orient="horz" pos="2981">
          <p15:clr>
            <a:srgbClr val="F26B43"/>
          </p15:clr>
        </p15:guide>
        <p15:guide id="4" pos="231">
          <p15:clr>
            <a:srgbClr val="F26B43"/>
          </p15:clr>
        </p15:guide>
        <p15:guide id="5" pos="461"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 Vertikale Ausrichtu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7AD15DB-6C5F-413D-A194-0EF2FCB322C4}"/>
              </a:ext>
            </a:extLst>
          </p:cNvPr>
          <p:cNvGraphicFramePr>
            <a:graphicFrameLocks noChangeAspect="1"/>
          </p:cNvGraphicFramePr>
          <p:nvPr userDrawn="1">
            <p:custDataLst>
              <p:tags r:id="rId2"/>
            </p:custDataLst>
            <p:extLst>
              <p:ext uri="{D42A27DB-BD31-4B8C-83A1-F6EECF244321}">
                <p14:modId xmlns:p14="http://schemas.microsoft.com/office/powerpoint/2010/main" val="1790800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641"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87AD15DB-6C5F-413D-A194-0EF2FCB322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05720F6F-C2F5-4036-B68C-EDBCA029D244}"/>
              </a:ext>
            </a:extLst>
          </p:cNvPr>
          <p:cNvSpPr/>
          <p:nvPr/>
        </p:nvSpPr>
        <p:spPr>
          <a:xfrm flipV="1">
            <a:off x="4210352" y="3833831"/>
            <a:ext cx="726772" cy="726072"/>
          </a:xfrm>
          <a:prstGeom prst="rect">
            <a:avLst/>
          </a:prstGeom>
          <a:solidFill>
            <a:schemeClr val="accent6"/>
          </a:solidFill>
          <a:ln w="2251" cap="flat">
            <a:noFill/>
            <a:prstDash val="solid"/>
            <a:miter/>
          </a:ln>
        </p:spPr>
        <p:txBody>
          <a:bodyPr rtlCol="0" anchor="ctr"/>
          <a:lstStyle/>
          <a:p>
            <a:pPr rtl="0"/>
            <a:endParaRPr lang="de-DE" dirty="0"/>
          </a:p>
        </p:txBody>
      </p:sp>
      <p:sp>
        <p:nvSpPr>
          <p:cNvPr id="37" name="Picture Placeholder 36">
            <a:extLst>
              <a:ext uri="{FF2B5EF4-FFF2-40B4-BE49-F238E27FC236}">
                <a16:creationId xmlns:a16="http://schemas.microsoft.com/office/drawing/2014/main" id="{821CCB68-AFFA-4FEE-8EE5-0AC93D3A4712}"/>
              </a:ext>
            </a:extLst>
          </p:cNvPr>
          <p:cNvSpPr>
            <a:spLocks noGrp="1"/>
          </p:cNvSpPr>
          <p:nvPr>
            <p:ph type="pic" sz="quarter" idx="18" hasCustomPrompt="1"/>
          </p:nvPr>
        </p:nvSpPr>
        <p:spPr>
          <a:xfrm>
            <a:off x="0" y="0"/>
            <a:ext cx="9144000" cy="5143500"/>
          </a:xfrm>
          <a:custGeom>
            <a:avLst/>
            <a:gdLst>
              <a:gd name="connsiteX0" fmla="*/ 4573738 w 9144000"/>
              <a:gd name="connsiteY0" fmla="*/ 4375818 h 5143500"/>
              <a:gd name="connsiteX1" fmla="*/ 4522571 w 9144000"/>
              <a:gd name="connsiteY1" fmla="*/ 4426985 h 5143500"/>
              <a:gd name="connsiteX2" fmla="*/ 4573738 w 9144000"/>
              <a:gd name="connsiteY2" fmla="*/ 4478152 h 5143500"/>
              <a:gd name="connsiteX3" fmla="*/ 4624907 w 9144000"/>
              <a:gd name="connsiteY3" fmla="*/ 4426985 h 5143500"/>
              <a:gd name="connsiteX4" fmla="*/ 4573738 w 9144000"/>
              <a:gd name="connsiteY4" fmla="*/ 4375818 h 5143500"/>
              <a:gd name="connsiteX5" fmla="*/ 4804126 w 9144000"/>
              <a:gd name="connsiteY5" fmla="*/ 4145701 h 5143500"/>
              <a:gd name="connsiteX6" fmla="*/ 4752959 w 9144000"/>
              <a:gd name="connsiteY6" fmla="*/ 4196868 h 5143500"/>
              <a:gd name="connsiteX7" fmla="*/ 4804126 w 9144000"/>
              <a:gd name="connsiteY7" fmla="*/ 4248035 h 5143500"/>
              <a:gd name="connsiteX8" fmla="*/ 4855293 w 9144000"/>
              <a:gd name="connsiteY8" fmla="*/ 4196868 h 5143500"/>
              <a:gd name="connsiteX9" fmla="*/ 4804126 w 9144000"/>
              <a:gd name="connsiteY9" fmla="*/ 4145701 h 5143500"/>
              <a:gd name="connsiteX10" fmla="*/ 4343349 w 9144000"/>
              <a:gd name="connsiteY10" fmla="*/ 4145701 h 5143500"/>
              <a:gd name="connsiteX11" fmla="*/ 4292182 w 9144000"/>
              <a:gd name="connsiteY11" fmla="*/ 4196868 h 5143500"/>
              <a:gd name="connsiteX12" fmla="*/ 4343349 w 9144000"/>
              <a:gd name="connsiteY12" fmla="*/ 4248035 h 5143500"/>
              <a:gd name="connsiteX13" fmla="*/ 4394516 w 9144000"/>
              <a:gd name="connsiteY13" fmla="*/ 4196868 h 5143500"/>
              <a:gd name="connsiteX14" fmla="*/ 4343349 w 9144000"/>
              <a:gd name="connsiteY14" fmla="*/ 4145701 h 5143500"/>
              <a:gd name="connsiteX15" fmla="*/ 4573809 w 9144000"/>
              <a:gd name="connsiteY15" fmla="*/ 4036953 h 5143500"/>
              <a:gd name="connsiteX16" fmla="*/ 4522642 w 9144000"/>
              <a:gd name="connsiteY16" fmla="*/ 4088118 h 5143500"/>
              <a:gd name="connsiteX17" fmla="*/ 4522642 w 9144000"/>
              <a:gd name="connsiteY17" fmla="*/ 4094510 h 5143500"/>
              <a:gd name="connsiteX18" fmla="*/ 4471475 w 9144000"/>
              <a:gd name="connsiteY18" fmla="*/ 4145677 h 5143500"/>
              <a:gd name="connsiteX19" fmla="*/ 4465078 w 9144000"/>
              <a:gd name="connsiteY19" fmla="*/ 4145679 h 5143500"/>
              <a:gd name="connsiteX20" fmla="*/ 4413911 w 9144000"/>
              <a:gd name="connsiteY20" fmla="*/ 4196846 h 5143500"/>
              <a:gd name="connsiteX21" fmla="*/ 4465078 w 9144000"/>
              <a:gd name="connsiteY21" fmla="*/ 4248013 h 5143500"/>
              <a:gd name="connsiteX22" fmla="*/ 4471475 w 9144000"/>
              <a:gd name="connsiteY22" fmla="*/ 4248013 h 5143500"/>
              <a:gd name="connsiteX23" fmla="*/ 4522642 w 9144000"/>
              <a:gd name="connsiteY23" fmla="*/ 4299180 h 5143500"/>
              <a:gd name="connsiteX24" fmla="*/ 4522642 w 9144000"/>
              <a:gd name="connsiteY24" fmla="*/ 4305572 h 5143500"/>
              <a:gd name="connsiteX25" fmla="*/ 4573809 w 9144000"/>
              <a:gd name="connsiteY25" fmla="*/ 4356741 h 5143500"/>
              <a:gd name="connsiteX26" fmla="*/ 4624978 w 9144000"/>
              <a:gd name="connsiteY26" fmla="*/ 4305572 h 5143500"/>
              <a:gd name="connsiteX27" fmla="*/ 4624978 w 9144000"/>
              <a:gd name="connsiteY27" fmla="*/ 4299180 h 5143500"/>
              <a:gd name="connsiteX28" fmla="*/ 4676147 w 9144000"/>
              <a:gd name="connsiteY28" fmla="*/ 4248013 h 5143500"/>
              <a:gd name="connsiteX29" fmla="*/ 4682537 w 9144000"/>
              <a:gd name="connsiteY29" fmla="*/ 4248013 h 5143500"/>
              <a:gd name="connsiteX30" fmla="*/ 4733706 w 9144000"/>
              <a:gd name="connsiteY30" fmla="*/ 4196846 h 5143500"/>
              <a:gd name="connsiteX31" fmla="*/ 4682537 w 9144000"/>
              <a:gd name="connsiteY31" fmla="*/ 4145679 h 5143500"/>
              <a:gd name="connsiteX32" fmla="*/ 4676147 w 9144000"/>
              <a:gd name="connsiteY32" fmla="*/ 4145679 h 5143500"/>
              <a:gd name="connsiteX33" fmla="*/ 4624978 w 9144000"/>
              <a:gd name="connsiteY33" fmla="*/ 4094510 h 5143500"/>
              <a:gd name="connsiteX34" fmla="*/ 4624978 w 9144000"/>
              <a:gd name="connsiteY34" fmla="*/ 4088118 h 5143500"/>
              <a:gd name="connsiteX35" fmla="*/ 4573809 w 9144000"/>
              <a:gd name="connsiteY35" fmla="*/ 4036953 h 5143500"/>
              <a:gd name="connsiteX36" fmla="*/ 4573738 w 9144000"/>
              <a:gd name="connsiteY36" fmla="*/ 3915582 h 5143500"/>
              <a:gd name="connsiteX37" fmla="*/ 4522571 w 9144000"/>
              <a:gd name="connsiteY37" fmla="*/ 3966749 h 5143500"/>
              <a:gd name="connsiteX38" fmla="*/ 4573738 w 9144000"/>
              <a:gd name="connsiteY38" fmla="*/ 4017916 h 5143500"/>
              <a:gd name="connsiteX39" fmla="*/ 4624907 w 9144000"/>
              <a:gd name="connsiteY39" fmla="*/ 3966749 h 5143500"/>
              <a:gd name="connsiteX40" fmla="*/ 4573738 w 9144000"/>
              <a:gd name="connsiteY40" fmla="*/ 3915582 h 5143500"/>
              <a:gd name="connsiteX41" fmla="*/ 366713 w 9144000"/>
              <a:gd name="connsiteY41" fmla="*/ 0 h 5143500"/>
              <a:gd name="connsiteX42" fmla="*/ 7513547 w 9144000"/>
              <a:gd name="connsiteY42" fmla="*/ 0 h 5143500"/>
              <a:gd name="connsiteX43" fmla="*/ 7513547 w 9144000"/>
              <a:gd name="connsiteY43" fmla="*/ 411479 h 5143500"/>
              <a:gd name="connsiteX44" fmla="*/ 8778239 w 9144000"/>
              <a:gd name="connsiteY44" fmla="*/ 411479 h 5143500"/>
              <a:gd name="connsiteX45" fmla="*/ 8778239 w 9144000"/>
              <a:gd name="connsiteY45" fmla="*/ 0 h 5143500"/>
              <a:gd name="connsiteX46" fmla="*/ 9144000 w 9144000"/>
              <a:gd name="connsiteY46" fmla="*/ 0 h 5143500"/>
              <a:gd name="connsiteX47" fmla="*/ 9144000 w 9144000"/>
              <a:gd name="connsiteY47" fmla="*/ 5143500 h 5143500"/>
              <a:gd name="connsiteX48" fmla="*/ 0 w 9144000"/>
              <a:gd name="connsiteY48" fmla="*/ 5143500 h 5143500"/>
              <a:gd name="connsiteX49" fmla="*/ 0 w 9144000"/>
              <a:gd name="connsiteY49" fmla="*/ 204789 h 5143500"/>
              <a:gd name="connsiteX50" fmla="*/ 366713 w 9144000"/>
              <a:gd name="connsiteY50" fmla="*/ 20478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144000" h="5143500">
                <a:moveTo>
                  <a:pt x="4573738" y="4375818"/>
                </a:moveTo>
                <a:cubicBezTo>
                  <a:pt x="4545480" y="4375818"/>
                  <a:pt x="4522571" y="4398727"/>
                  <a:pt x="4522571" y="4426985"/>
                </a:cubicBezTo>
                <a:cubicBezTo>
                  <a:pt x="4522571" y="4455246"/>
                  <a:pt x="4545480" y="4478152"/>
                  <a:pt x="4573738" y="4478152"/>
                </a:cubicBezTo>
                <a:cubicBezTo>
                  <a:pt x="4602001" y="4478152"/>
                  <a:pt x="4624907" y="4455246"/>
                  <a:pt x="4624907" y="4426985"/>
                </a:cubicBezTo>
                <a:cubicBezTo>
                  <a:pt x="4624907" y="4398727"/>
                  <a:pt x="4602001" y="4375818"/>
                  <a:pt x="4573738" y="4375818"/>
                </a:cubicBezTo>
                <a:close/>
                <a:moveTo>
                  <a:pt x="4804126" y="4145701"/>
                </a:moveTo>
                <a:cubicBezTo>
                  <a:pt x="4775868" y="4145701"/>
                  <a:pt x="4752959" y="4168610"/>
                  <a:pt x="4752959" y="4196868"/>
                </a:cubicBezTo>
                <a:cubicBezTo>
                  <a:pt x="4752959" y="4225129"/>
                  <a:pt x="4775868" y="4248035"/>
                  <a:pt x="4804126" y="4248035"/>
                </a:cubicBezTo>
                <a:cubicBezTo>
                  <a:pt x="4832387" y="4248035"/>
                  <a:pt x="4855293" y="4225129"/>
                  <a:pt x="4855293" y="4196868"/>
                </a:cubicBezTo>
                <a:cubicBezTo>
                  <a:pt x="4855293" y="4168610"/>
                  <a:pt x="4832387" y="4145701"/>
                  <a:pt x="4804126" y="4145701"/>
                </a:cubicBezTo>
                <a:close/>
                <a:moveTo>
                  <a:pt x="4343349" y="4145701"/>
                </a:moveTo>
                <a:cubicBezTo>
                  <a:pt x="4315091" y="4145701"/>
                  <a:pt x="4292182" y="4168610"/>
                  <a:pt x="4292182" y="4196868"/>
                </a:cubicBezTo>
                <a:cubicBezTo>
                  <a:pt x="4292182" y="4225129"/>
                  <a:pt x="4315091" y="4248035"/>
                  <a:pt x="4343349" y="4248035"/>
                </a:cubicBezTo>
                <a:cubicBezTo>
                  <a:pt x="4371610" y="4248035"/>
                  <a:pt x="4394516" y="4225129"/>
                  <a:pt x="4394516" y="4196868"/>
                </a:cubicBezTo>
                <a:cubicBezTo>
                  <a:pt x="4394516" y="4168610"/>
                  <a:pt x="4371610" y="4145701"/>
                  <a:pt x="4343349" y="4145701"/>
                </a:cubicBezTo>
                <a:close/>
                <a:moveTo>
                  <a:pt x="4573809" y="4036953"/>
                </a:moveTo>
                <a:cubicBezTo>
                  <a:pt x="4545553" y="4036953"/>
                  <a:pt x="4522642" y="4059862"/>
                  <a:pt x="4522642" y="4088118"/>
                </a:cubicBezTo>
                <a:lnTo>
                  <a:pt x="4522642" y="4094510"/>
                </a:lnTo>
                <a:cubicBezTo>
                  <a:pt x="4522642" y="4122773"/>
                  <a:pt x="4499735" y="4145677"/>
                  <a:pt x="4471475" y="4145677"/>
                </a:cubicBezTo>
                <a:lnTo>
                  <a:pt x="4465078" y="4145679"/>
                </a:lnTo>
                <a:cubicBezTo>
                  <a:pt x="4436820" y="4145679"/>
                  <a:pt x="4413911" y="4168585"/>
                  <a:pt x="4413911" y="4196846"/>
                </a:cubicBezTo>
                <a:cubicBezTo>
                  <a:pt x="4413911" y="4225107"/>
                  <a:pt x="4436820" y="4248013"/>
                  <a:pt x="4465078" y="4248013"/>
                </a:cubicBezTo>
                <a:lnTo>
                  <a:pt x="4471475" y="4248013"/>
                </a:lnTo>
                <a:cubicBezTo>
                  <a:pt x="4499735" y="4248013"/>
                  <a:pt x="4522642" y="4270919"/>
                  <a:pt x="4522642" y="4299180"/>
                </a:cubicBezTo>
                <a:lnTo>
                  <a:pt x="4522642" y="4305572"/>
                </a:lnTo>
                <a:cubicBezTo>
                  <a:pt x="4522642" y="4333835"/>
                  <a:pt x="4545553" y="4356741"/>
                  <a:pt x="4573809" y="4356741"/>
                </a:cubicBezTo>
                <a:cubicBezTo>
                  <a:pt x="4602072" y="4356741"/>
                  <a:pt x="4624978" y="4333835"/>
                  <a:pt x="4624978" y="4305572"/>
                </a:cubicBezTo>
                <a:lnTo>
                  <a:pt x="4624978" y="4299180"/>
                </a:lnTo>
                <a:cubicBezTo>
                  <a:pt x="4624978" y="4270919"/>
                  <a:pt x="4647886" y="4248013"/>
                  <a:pt x="4676147" y="4248013"/>
                </a:cubicBezTo>
                <a:lnTo>
                  <a:pt x="4682537" y="4248013"/>
                </a:lnTo>
                <a:cubicBezTo>
                  <a:pt x="4710798" y="4248013"/>
                  <a:pt x="4733706" y="4225107"/>
                  <a:pt x="4733706" y="4196846"/>
                </a:cubicBezTo>
                <a:cubicBezTo>
                  <a:pt x="4733706" y="4168585"/>
                  <a:pt x="4710798" y="4145679"/>
                  <a:pt x="4682537" y="4145679"/>
                </a:cubicBezTo>
                <a:lnTo>
                  <a:pt x="4676147" y="4145679"/>
                </a:lnTo>
                <a:cubicBezTo>
                  <a:pt x="4647886" y="4145679"/>
                  <a:pt x="4624978" y="4122773"/>
                  <a:pt x="4624978" y="4094510"/>
                </a:cubicBezTo>
                <a:lnTo>
                  <a:pt x="4624978" y="4088118"/>
                </a:lnTo>
                <a:cubicBezTo>
                  <a:pt x="4624978" y="4059862"/>
                  <a:pt x="4602072" y="4036953"/>
                  <a:pt x="4573809" y="4036953"/>
                </a:cubicBezTo>
                <a:close/>
                <a:moveTo>
                  <a:pt x="4573738" y="3915582"/>
                </a:moveTo>
                <a:cubicBezTo>
                  <a:pt x="4545480" y="3915582"/>
                  <a:pt x="4522571" y="3938491"/>
                  <a:pt x="4522571" y="3966749"/>
                </a:cubicBezTo>
                <a:cubicBezTo>
                  <a:pt x="4522571" y="3995010"/>
                  <a:pt x="4545480" y="4017916"/>
                  <a:pt x="4573738" y="4017916"/>
                </a:cubicBezTo>
                <a:cubicBezTo>
                  <a:pt x="4602001" y="4017916"/>
                  <a:pt x="4624907" y="3995010"/>
                  <a:pt x="4624907" y="3966749"/>
                </a:cubicBezTo>
                <a:cubicBezTo>
                  <a:pt x="4624907" y="3938491"/>
                  <a:pt x="4602001" y="3915582"/>
                  <a:pt x="4573738" y="3915582"/>
                </a:cubicBezTo>
                <a:close/>
                <a:moveTo>
                  <a:pt x="366713" y="0"/>
                </a:moveTo>
                <a:lnTo>
                  <a:pt x="7513547" y="0"/>
                </a:lnTo>
                <a:lnTo>
                  <a:pt x="7513547" y="411479"/>
                </a:lnTo>
                <a:lnTo>
                  <a:pt x="8778239" y="411479"/>
                </a:lnTo>
                <a:lnTo>
                  <a:pt x="8778239" y="0"/>
                </a:lnTo>
                <a:lnTo>
                  <a:pt x="9144000" y="0"/>
                </a:lnTo>
                <a:lnTo>
                  <a:pt x="9144000" y="5143500"/>
                </a:lnTo>
                <a:lnTo>
                  <a:pt x="0" y="5143500"/>
                </a:lnTo>
                <a:lnTo>
                  <a:pt x="0" y="204789"/>
                </a:lnTo>
                <a:lnTo>
                  <a:pt x="366713" y="204789"/>
                </a:lnTo>
                <a:close/>
              </a:path>
            </a:pathLst>
          </a:custGeom>
          <a:blipFill>
            <a:blip r:embed="rId6"/>
            <a:stretch>
              <a:fillRect/>
            </a:stretch>
          </a:blipFill>
        </p:spPr>
        <p:txBody>
          <a:bodyPr wrap="square" lIns="4428000" rIns="0" anchor="ctr">
            <a:noAutofit/>
          </a:bodyPr>
          <a:lstStyle>
            <a:lvl1pPr marL="0" indent="0" algn="ctr" rtl="0">
              <a:buNone/>
              <a:defRPr>
                <a:solidFill>
                  <a:schemeClr val="bg1"/>
                </a:solidFill>
              </a:defRPr>
            </a:lvl1pPr>
          </a:lstStyle>
          <a:p>
            <a:r>
              <a:rPr lang="de-DE" dirty="0"/>
              <a:t>Bild hinzufügen</a:t>
            </a:r>
          </a:p>
        </p:txBody>
      </p:sp>
      <p:pic>
        <p:nvPicPr>
          <p:cNvPr id="14" name="Graphic 13">
            <a:extLst>
              <a:ext uri="{FF2B5EF4-FFF2-40B4-BE49-F238E27FC236}">
                <a16:creationId xmlns:a16="http://schemas.microsoft.com/office/drawing/2014/main" id="{43CD198E-4F0F-457A-9B03-F4B60CE74421}"/>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513547" y="0"/>
            <a:ext cx="1264692" cy="411479"/>
          </a:xfrm>
          <a:prstGeom prst="rect">
            <a:avLst/>
          </a:prstGeom>
        </p:spPr>
      </p:pic>
      <p:sp>
        <p:nvSpPr>
          <p:cNvPr id="38" name="Title 37">
            <a:extLst>
              <a:ext uri="{FF2B5EF4-FFF2-40B4-BE49-F238E27FC236}">
                <a16:creationId xmlns:a16="http://schemas.microsoft.com/office/drawing/2014/main" id="{E8719F85-7897-424A-9D7D-C4EA7390E2C4}"/>
              </a:ext>
            </a:extLst>
          </p:cNvPr>
          <p:cNvSpPr>
            <a:spLocks noGrp="1"/>
          </p:cNvSpPr>
          <p:nvPr>
            <p:ph type="ctrTitle" hasCustomPrompt="1"/>
          </p:nvPr>
        </p:nvSpPr>
        <p:spPr>
          <a:xfrm>
            <a:off x="366714" y="617538"/>
            <a:ext cx="4205286" cy="4114481"/>
          </a:xfrm>
          <a:custGeom>
            <a:avLst/>
            <a:gdLst>
              <a:gd name="connsiteX0" fmla="*/ 3976635 w 4205286"/>
              <a:gd name="connsiteY0" fmla="*/ 3528163 h 4114481"/>
              <a:gd name="connsiteX1" fmla="*/ 3925468 w 4205286"/>
              <a:gd name="connsiteY1" fmla="*/ 3579330 h 4114481"/>
              <a:gd name="connsiteX2" fmla="*/ 3976635 w 4205286"/>
              <a:gd name="connsiteY2" fmla="*/ 3630497 h 4114481"/>
              <a:gd name="connsiteX3" fmla="*/ 4027802 w 4205286"/>
              <a:gd name="connsiteY3" fmla="*/ 3579330 h 4114481"/>
              <a:gd name="connsiteX4" fmla="*/ 3976635 w 4205286"/>
              <a:gd name="connsiteY4" fmla="*/ 3528163 h 4114481"/>
              <a:gd name="connsiteX5" fmla="*/ 0 w 4205286"/>
              <a:gd name="connsiteY5" fmla="*/ 0 h 4114481"/>
              <a:gd name="connsiteX6" fmla="*/ 4205286 w 4205286"/>
              <a:gd name="connsiteY6" fmla="*/ 0 h 4114481"/>
              <a:gd name="connsiteX7" fmla="*/ 4205286 w 4205286"/>
              <a:gd name="connsiteY7" fmla="*/ 3298395 h 4114481"/>
              <a:gd name="connsiteX8" fmla="*/ 4187108 w 4205286"/>
              <a:gd name="connsiteY8" fmla="*/ 3302065 h 4114481"/>
              <a:gd name="connsiteX9" fmla="*/ 4155857 w 4205286"/>
              <a:gd name="connsiteY9" fmla="*/ 3349211 h 4114481"/>
              <a:gd name="connsiteX10" fmla="*/ 4187108 w 4205286"/>
              <a:gd name="connsiteY10" fmla="*/ 3396357 h 4114481"/>
              <a:gd name="connsiteX11" fmla="*/ 4205286 w 4205286"/>
              <a:gd name="connsiteY11" fmla="*/ 3400027 h 4114481"/>
              <a:gd name="connsiteX12" fmla="*/ 4205286 w 4205286"/>
              <a:gd name="connsiteY12" fmla="*/ 3419780 h 4114481"/>
              <a:gd name="connsiteX13" fmla="*/ 4187180 w 4205286"/>
              <a:gd name="connsiteY13" fmla="*/ 3423436 h 4114481"/>
              <a:gd name="connsiteX14" fmla="*/ 4155928 w 4205286"/>
              <a:gd name="connsiteY14" fmla="*/ 3470580 h 4114481"/>
              <a:gd name="connsiteX15" fmla="*/ 4155928 w 4205286"/>
              <a:gd name="connsiteY15" fmla="*/ 3476972 h 4114481"/>
              <a:gd name="connsiteX16" fmla="*/ 4104761 w 4205286"/>
              <a:gd name="connsiteY16" fmla="*/ 3528139 h 4114481"/>
              <a:gd name="connsiteX17" fmla="*/ 4098364 w 4205286"/>
              <a:gd name="connsiteY17" fmla="*/ 3528141 h 4114481"/>
              <a:gd name="connsiteX18" fmla="*/ 4047197 w 4205286"/>
              <a:gd name="connsiteY18" fmla="*/ 3579308 h 4114481"/>
              <a:gd name="connsiteX19" fmla="*/ 4098364 w 4205286"/>
              <a:gd name="connsiteY19" fmla="*/ 3630475 h 4114481"/>
              <a:gd name="connsiteX20" fmla="*/ 4104761 w 4205286"/>
              <a:gd name="connsiteY20" fmla="*/ 3630475 h 4114481"/>
              <a:gd name="connsiteX21" fmla="*/ 4155928 w 4205286"/>
              <a:gd name="connsiteY21" fmla="*/ 3681642 h 4114481"/>
              <a:gd name="connsiteX22" fmla="*/ 4155928 w 4205286"/>
              <a:gd name="connsiteY22" fmla="*/ 3688034 h 4114481"/>
              <a:gd name="connsiteX23" fmla="*/ 4187180 w 4205286"/>
              <a:gd name="connsiteY23" fmla="*/ 3735183 h 4114481"/>
              <a:gd name="connsiteX24" fmla="*/ 4205286 w 4205286"/>
              <a:gd name="connsiteY24" fmla="*/ 3738838 h 4114481"/>
              <a:gd name="connsiteX25" fmla="*/ 4205286 w 4205286"/>
              <a:gd name="connsiteY25" fmla="*/ 3758631 h 4114481"/>
              <a:gd name="connsiteX26" fmla="*/ 4187108 w 4205286"/>
              <a:gd name="connsiteY26" fmla="*/ 3762301 h 4114481"/>
              <a:gd name="connsiteX27" fmla="*/ 4155857 w 4205286"/>
              <a:gd name="connsiteY27" fmla="*/ 3809447 h 4114481"/>
              <a:gd name="connsiteX28" fmla="*/ 4187108 w 4205286"/>
              <a:gd name="connsiteY28" fmla="*/ 3856594 h 4114481"/>
              <a:gd name="connsiteX29" fmla="*/ 4205286 w 4205286"/>
              <a:gd name="connsiteY29" fmla="*/ 3860263 h 4114481"/>
              <a:gd name="connsiteX30" fmla="*/ 4205286 w 4205286"/>
              <a:gd name="connsiteY30" fmla="*/ 4114481 h 4114481"/>
              <a:gd name="connsiteX31" fmla="*/ 0 w 4205286"/>
              <a:gd name="connsiteY31" fmla="*/ 4114481 h 411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05286" h="4114481">
                <a:moveTo>
                  <a:pt x="3976635" y="3528163"/>
                </a:moveTo>
                <a:cubicBezTo>
                  <a:pt x="3948377" y="3528163"/>
                  <a:pt x="3925468" y="3551072"/>
                  <a:pt x="3925468" y="3579330"/>
                </a:cubicBezTo>
                <a:cubicBezTo>
                  <a:pt x="3925468" y="3607591"/>
                  <a:pt x="3948377" y="3630497"/>
                  <a:pt x="3976635" y="3630497"/>
                </a:cubicBezTo>
                <a:cubicBezTo>
                  <a:pt x="4004896" y="3630497"/>
                  <a:pt x="4027802" y="3607591"/>
                  <a:pt x="4027802" y="3579330"/>
                </a:cubicBezTo>
                <a:cubicBezTo>
                  <a:pt x="4027802" y="3551072"/>
                  <a:pt x="4004896" y="3528163"/>
                  <a:pt x="3976635" y="3528163"/>
                </a:cubicBezTo>
                <a:close/>
                <a:moveTo>
                  <a:pt x="0" y="0"/>
                </a:moveTo>
                <a:lnTo>
                  <a:pt x="4205286" y="0"/>
                </a:lnTo>
                <a:lnTo>
                  <a:pt x="4205286" y="3298395"/>
                </a:lnTo>
                <a:lnTo>
                  <a:pt x="4187108" y="3302065"/>
                </a:lnTo>
                <a:cubicBezTo>
                  <a:pt x="4168744" y="3309833"/>
                  <a:pt x="4155857" y="3328018"/>
                  <a:pt x="4155857" y="3349211"/>
                </a:cubicBezTo>
                <a:cubicBezTo>
                  <a:pt x="4155857" y="3370407"/>
                  <a:pt x="4168744" y="3388590"/>
                  <a:pt x="4187108" y="3396357"/>
                </a:cubicBezTo>
                <a:lnTo>
                  <a:pt x="4205286" y="3400027"/>
                </a:lnTo>
                <a:lnTo>
                  <a:pt x="4205286" y="3419780"/>
                </a:lnTo>
                <a:lnTo>
                  <a:pt x="4187180" y="3423436"/>
                </a:lnTo>
                <a:cubicBezTo>
                  <a:pt x="4168816" y="3431204"/>
                  <a:pt x="4155928" y="3449388"/>
                  <a:pt x="4155928" y="3470580"/>
                </a:cubicBezTo>
                <a:lnTo>
                  <a:pt x="4155928" y="3476972"/>
                </a:lnTo>
                <a:cubicBezTo>
                  <a:pt x="4155928" y="3505235"/>
                  <a:pt x="4133021" y="3528139"/>
                  <a:pt x="4104761" y="3528139"/>
                </a:cubicBezTo>
                <a:lnTo>
                  <a:pt x="4098364" y="3528141"/>
                </a:lnTo>
                <a:cubicBezTo>
                  <a:pt x="4070106" y="3528141"/>
                  <a:pt x="4047197" y="3551047"/>
                  <a:pt x="4047197" y="3579308"/>
                </a:cubicBezTo>
                <a:cubicBezTo>
                  <a:pt x="4047197" y="3607569"/>
                  <a:pt x="4070106" y="3630475"/>
                  <a:pt x="4098364" y="3630475"/>
                </a:cubicBezTo>
                <a:lnTo>
                  <a:pt x="4104761" y="3630475"/>
                </a:lnTo>
                <a:cubicBezTo>
                  <a:pt x="4133021" y="3630475"/>
                  <a:pt x="4155928" y="3653381"/>
                  <a:pt x="4155928" y="3681642"/>
                </a:cubicBezTo>
                <a:lnTo>
                  <a:pt x="4155928" y="3688034"/>
                </a:lnTo>
                <a:cubicBezTo>
                  <a:pt x="4155928" y="3709231"/>
                  <a:pt x="4168816" y="3727415"/>
                  <a:pt x="4187180" y="3735183"/>
                </a:cubicBezTo>
                <a:lnTo>
                  <a:pt x="4205286" y="3738838"/>
                </a:lnTo>
                <a:lnTo>
                  <a:pt x="4205286" y="3758631"/>
                </a:lnTo>
                <a:lnTo>
                  <a:pt x="4187108" y="3762301"/>
                </a:lnTo>
                <a:cubicBezTo>
                  <a:pt x="4168744" y="3770069"/>
                  <a:pt x="4155857" y="3788254"/>
                  <a:pt x="4155857" y="3809447"/>
                </a:cubicBezTo>
                <a:cubicBezTo>
                  <a:pt x="4155857" y="3830643"/>
                  <a:pt x="4168744" y="3848827"/>
                  <a:pt x="4187108" y="3856594"/>
                </a:cubicBezTo>
                <a:lnTo>
                  <a:pt x="4205286" y="3860263"/>
                </a:lnTo>
                <a:lnTo>
                  <a:pt x="4205286" y="4114481"/>
                </a:lnTo>
                <a:lnTo>
                  <a:pt x="0" y="4114481"/>
                </a:lnTo>
                <a:close/>
              </a:path>
            </a:pathLst>
          </a:custGeom>
          <a:solidFill>
            <a:schemeClr val="accent3">
              <a:alpha val="80000"/>
            </a:schemeClr>
          </a:solidFill>
        </p:spPr>
        <p:txBody>
          <a:bodyPr vert="horz" wrap="square" lIns="360000" tIns="612000" rIns="360000" bIns="0" anchor="t" anchorCtr="0">
            <a:noAutofit/>
          </a:bodyPr>
          <a:lstStyle>
            <a:lvl1pPr algn="l" rtl="0">
              <a:lnSpc>
                <a:spcPct val="100000"/>
              </a:lnSpc>
              <a:defRPr sz="2400" b="1" cap="all" baseline="0">
                <a:solidFill>
                  <a:schemeClr val="bg1"/>
                </a:solidFill>
              </a:defRPr>
            </a:lvl1pPr>
          </a:lstStyle>
          <a:p>
            <a:r>
              <a:rPr lang="de-DE" noProof="0" dirty="0"/>
              <a:t>Titel hinzufügen</a:t>
            </a:r>
            <a:endParaRPr lang="de-DE" dirty="0"/>
          </a:p>
        </p:txBody>
      </p:sp>
      <p:sp>
        <p:nvSpPr>
          <p:cNvPr id="3" name="Subtitle 2">
            <a:extLst>
              <a:ext uri="{FF2B5EF4-FFF2-40B4-BE49-F238E27FC236}">
                <a16:creationId xmlns:a16="http://schemas.microsoft.com/office/drawing/2014/main" id="{32C5B5DA-E9D3-48AB-8BF4-6BA935EC82B2}"/>
              </a:ext>
            </a:extLst>
          </p:cNvPr>
          <p:cNvSpPr>
            <a:spLocks noGrp="1"/>
          </p:cNvSpPr>
          <p:nvPr>
            <p:ph type="subTitle" idx="1" hasCustomPrompt="1"/>
          </p:nvPr>
        </p:nvSpPr>
        <p:spPr>
          <a:xfrm>
            <a:off x="731837" y="3970192"/>
            <a:ext cx="3292475" cy="430887"/>
          </a:xfrm>
        </p:spPr>
        <p:txBody>
          <a:bodyPr wrap="square" lIns="0" tIns="0" rIns="0" bIns="0" anchor="b" anchorCtr="0">
            <a:noAutofit/>
          </a:bodyPr>
          <a:lstStyle>
            <a:lvl1pPr marL="0" indent="0" algn="l" rtl="0">
              <a:spcAft>
                <a:spcPts val="0"/>
              </a:spcAft>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TT. Monat </a:t>
            </a:r>
            <a:r>
              <a:rPr lang="de-DE" dirty="0" err="1"/>
              <a:t>JJJJ</a:t>
            </a:r>
            <a:r>
              <a:rPr lang="de-DE" dirty="0"/>
              <a:t> | Ort | Zusatzinformationen</a:t>
            </a:r>
          </a:p>
        </p:txBody>
      </p:sp>
    </p:spTree>
    <p:extLst>
      <p:ext uri="{BB962C8B-B14F-4D97-AF65-F5344CB8AC3E}">
        <p14:creationId xmlns:p14="http://schemas.microsoft.com/office/powerpoint/2010/main" val="4020492905"/>
      </p:ext>
    </p:extLst>
  </p:cSld>
  <p:clrMapOvr>
    <a:masterClrMapping/>
  </p:clrMapOvr>
  <p:extLst>
    <p:ext uri="{DCECCB84-F9BA-43D5-87BE-67443E8EF086}">
      <p15:sldGuideLst xmlns:p15="http://schemas.microsoft.com/office/powerpoint/2012/main">
        <p15:guide id="1" pos="2880" userDrawn="1">
          <p15:clr>
            <a:srgbClr val="F26B43"/>
          </p15:clr>
        </p15:guide>
        <p15:guide id="2" orient="horz" pos="389" userDrawn="1">
          <p15:clr>
            <a:srgbClr val="F26B43"/>
          </p15:clr>
        </p15:guide>
        <p15:guide id="3" orient="horz" pos="2981" userDrawn="1">
          <p15:clr>
            <a:srgbClr val="F26B43"/>
          </p15:clr>
        </p15:guide>
        <p15:guide id="4" pos="231" userDrawn="1">
          <p15:clr>
            <a:srgbClr val="F26B43"/>
          </p15:clr>
        </p15:guide>
        <p15:guide id="5" pos="461" userDrawn="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 Horizontale Ausrichtu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7AD15DB-6C5F-413D-A194-0EF2FCB322C4}"/>
              </a:ext>
            </a:extLst>
          </p:cNvPr>
          <p:cNvGraphicFramePr>
            <a:graphicFrameLocks noChangeAspect="1"/>
          </p:cNvGraphicFramePr>
          <p:nvPr userDrawn="1">
            <p:custDataLst>
              <p:tags r:id="rId2"/>
            </p:custDataLst>
            <p:extLst>
              <p:ext uri="{D42A27DB-BD31-4B8C-83A1-F6EECF244321}">
                <p14:modId xmlns:p14="http://schemas.microsoft.com/office/powerpoint/2010/main" val="2703431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701"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87AD15DB-6C5F-413D-A194-0EF2FCB322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719D4B57-968C-43EB-BB56-0830CBD57C00}"/>
              </a:ext>
            </a:extLst>
          </p:cNvPr>
          <p:cNvSpPr/>
          <p:nvPr/>
        </p:nvSpPr>
        <p:spPr>
          <a:xfrm flipV="1">
            <a:off x="548929" y="2509583"/>
            <a:ext cx="746472" cy="745754"/>
          </a:xfrm>
          <a:prstGeom prst="rect">
            <a:avLst/>
          </a:prstGeom>
          <a:solidFill>
            <a:schemeClr val="accent6"/>
          </a:solidFill>
          <a:ln w="2251" cap="flat">
            <a:noFill/>
            <a:prstDash val="solid"/>
            <a:miter/>
          </a:ln>
        </p:spPr>
        <p:txBody>
          <a:bodyPr rtlCol="0" anchor="ctr"/>
          <a:lstStyle/>
          <a:p>
            <a:pPr rtl="0"/>
            <a:endParaRPr lang="de-DE" dirty="0"/>
          </a:p>
        </p:txBody>
      </p:sp>
      <p:sp>
        <p:nvSpPr>
          <p:cNvPr id="22" name="Picture Placeholder 21">
            <a:extLst>
              <a:ext uri="{FF2B5EF4-FFF2-40B4-BE49-F238E27FC236}">
                <a16:creationId xmlns:a16="http://schemas.microsoft.com/office/drawing/2014/main" id="{04721DBE-3BCC-44F2-B7B3-C96039F032D3}"/>
              </a:ext>
            </a:extLst>
          </p:cNvPr>
          <p:cNvSpPr>
            <a:spLocks noGrp="1"/>
          </p:cNvSpPr>
          <p:nvPr>
            <p:ph type="pic" sz="quarter" idx="18" hasCustomPrompt="1"/>
          </p:nvPr>
        </p:nvSpPr>
        <p:spPr>
          <a:xfrm>
            <a:off x="0" y="0"/>
            <a:ext cx="9144000" cy="5143500"/>
          </a:xfrm>
          <a:custGeom>
            <a:avLst/>
            <a:gdLst>
              <a:gd name="connsiteX0" fmla="*/ 922165 w 9144000"/>
              <a:gd name="connsiteY0" fmla="*/ 3061411 h 5143500"/>
              <a:gd name="connsiteX1" fmla="*/ 870998 w 9144000"/>
              <a:gd name="connsiteY1" fmla="*/ 3112578 h 5143500"/>
              <a:gd name="connsiteX2" fmla="*/ 922165 w 9144000"/>
              <a:gd name="connsiteY2" fmla="*/ 3163745 h 5143500"/>
              <a:gd name="connsiteX3" fmla="*/ 973334 w 9144000"/>
              <a:gd name="connsiteY3" fmla="*/ 3112578 h 5143500"/>
              <a:gd name="connsiteX4" fmla="*/ 922165 w 9144000"/>
              <a:gd name="connsiteY4" fmla="*/ 3061411 h 5143500"/>
              <a:gd name="connsiteX5" fmla="*/ 1152553 w 9144000"/>
              <a:gd name="connsiteY5" fmla="*/ 2831294 h 5143500"/>
              <a:gd name="connsiteX6" fmla="*/ 1101386 w 9144000"/>
              <a:gd name="connsiteY6" fmla="*/ 2882461 h 5143500"/>
              <a:gd name="connsiteX7" fmla="*/ 1152553 w 9144000"/>
              <a:gd name="connsiteY7" fmla="*/ 2933628 h 5143500"/>
              <a:gd name="connsiteX8" fmla="*/ 1203720 w 9144000"/>
              <a:gd name="connsiteY8" fmla="*/ 2882461 h 5143500"/>
              <a:gd name="connsiteX9" fmla="*/ 1152553 w 9144000"/>
              <a:gd name="connsiteY9" fmla="*/ 2831294 h 5143500"/>
              <a:gd name="connsiteX10" fmla="*/ 691776 w 9144000"/>
              <a:gd name="connsiteY10" fmla="*/ 2831294 h 5143500"/>
              <a:gd name="connsiteX11" fmla="*/ 640609 w 9144000"/>
              <a:gd name="connsiteY11" fmla="*/ 2882461 h 5143500"/>
              <a:gd name="connsiteX12" fmla="*/ 691776 w 9144000"/>
              <a:gd name="connsiteY12" fmla="*/ 2933628 h 5143500"/>
              <a:gd name="connsiteX13" fmla="*/ 742943 w 9144000"/>
              <a:gd name="connsiteY13" fmla="*/ 2882461 h 5143500"/>
              <a:gd name="connsiteX14" fmla="*/ 691776 w 9144000"/>
              <a:gd name="connsiteY14" fmla="*/ 2831294 h 5143500"/>
              <a:gd name="connsiteX15" fmla="*/ 922236 w 9144000"/>
              <a:gd name="connsiteY15" fmla="*/ 2722546 h 5143500"/>
              <a:gd name="connsiteX16" fmla="*/ 871069 w 9144000"/>
              <a:gd name="connsiteY16" fmla="*/ 2773711 h 5143500"/>
              <a:gd name="connsiteX17" fmla="*/ 871069 w 9144000"/>
              <a:gd name="connsiteY17" fmla="*/ 2780103 h 5143500"/>
              <a:gd name="connsiteX18" fmla="*/ 819902 w 9144000"/>
              <a:gd name="connsiteY18" fmla="*/ 2831270 h 5143500"/>
              <a:gd name="connsiteX19" fmla="*/ 813505 w 9144000"/>
              <a:gd name="connsiteY19" fmla="*/ 2831272 h 5143500"/>
              <a:gd name="connsiteX20" fmla="*/ 762338 w 9144000"/>
              <a:gd name="connsiteY20" fmla="*/ 2882439 h 5143500"/>
              <a:gd name="connsiteX21" fmla="*/ 813505 w 9144000"/>
              <a:gd name="connsiteY21" fmla="*/ 2933606 h 5143500"/>
              <a:gd name="connsiteX22" fmla="*/ 819902 w 9144000"/>
              <a:gd name="connsiteY22" fmla="*/ 2933606 h 5143500"/>
              <a:gd name="connsiteX23" fmla="*/ 871069 w 9144000"/>
              <a:gd name="connsiteY23" fmla="*/ 2984773 h 5143500"/>
              <a:gd name="connsiteX24" fmla="*/ 871069 w 9144000"/>
              <a:gd name="connsiteY24" fmla="*/ 2991165 h 5143500"/>
              <a:gd name="connsiteX25" fmla="*/ 922236 w 9144000"/>
              <a:gd name="connsiteY25" fmla="*/ 3042334 h 5143500"/>
              <a:gd name="connsiteX26" fmla="*/ 973405 w 9144000"/>
              <a:gd name="connsiteY26" fmla="*/ 2991165 h 5143500"/>
              <a:gd name="connsiteX27" fmla="*/ 973405 w 9144000"/>
              <a:gd name="connsiteY27" fmla="*/ 2984773 h 5143500"/>
              <a:gd name="connsiteX28" fmla="*/ 1024574 w 9144000"/>
              <a:gd name="connsiteY28" fmla="*/ 2933606 h 5143500"/>
              <a:gd name="connsiteX29" fmla="*/ 1030964 w 9144000"/>
              <a:gd name="connsiteY29" fmla="*/ 2933606 h 5143500"/>
              <a:gd name="connsiteX30" fmla="*/ 1082133 w 9144000"/>
              <a:gd name="connsiteY30" fmla="*/ 2882439 h 5143500"/>
              <a:gd name="connsiteX31" fmla="*/ 1030964 w 9144000"/>
              <a:gd name="connsiteY31" fmla="*/ 2831272 h 5143500"/>
              <a:gd name="connsiteX32" fmla="*/ 1024574 w 9144000"/>
              <a:gd name="connsiteY32" fmla="*/ 2831272 h 5143500"/>
              <a:gd name="connsiteX33" fmla="*/ 973405 w 9144000"/>
              <a:gd name="connsiteY33" fmla="*/ 2780103 h 5143500"/>
              <a:gd name="connsiteX34" fmla="*/ 973405 w 9144000"/>
              <a:gd name="connsiteY34" fmla="*/ 2773711 h 5143500"/>
              <a:gd name="connsiteX35" fmla="*/ 922236 w 9144000"/>
              <a:gd name="connsiteY35" fmla="*/ 2722546 h 5143500"/>
              <a:gd name="connsiteX36" fmla="*/ 922165 w 9144000"/>
              <a:gd name="connsiteY36" fmla="*/ 2601175 h 5143500"/>
              <a:gd name="connsiteX37" fmla="*/ 870998 w 9144000"/>
              <a:gd name="connsiteY37" fmla="*/ 2652342 h 5143500"/>
              <a:gd name="connsiteX38" fmla="*/ 922165 w 9144000"/>
              <a:gd name="connsiteY38" fmla="*/ 2703509 h 5143500"/>
              <a:gd name="connsiteX39" fmla="*/ 973334 w 9144000"/>
              <a:gd name="connsiteY39" fmla="*/ 2652342 h 5143500"/>
              <a:gd name="connsiteX40" fmla="*/ 922165 w 9144000"/>
              <a:gd name="connsiteY40" fmla="*/ 2601175 h 5143500"/>
              <a:gd name="connsiteX41" fmla="*/ 366713 w 9144000"/>
              <a:gd name="connsiteY41" fmla="*/ 0 h 5143500"/>
              <a:gd name="connsiteX42" fmla="*/ 7513547 w 9144000"/>
              <a:gd name="connsiteY42" fmla="*/ 0 h 5143500"/>
              <a:gd name="connsiteX43" fmla="*/ 7513547 w 9144000"/>
              <a:gd name="connsiteY43" fmla="*/ 411479 h 5143500"/>
              <a:gd name="connsiteX44" fmla="*/ 8778239 w 9144000"/>
              <a:gd name="connsiteY44" fmla="*/ 411479 h 5143500"/>
              <a:gd name="connsiteX45" fmla="*/ 8778239 w 9144000"/>
              <a:gd name="connsiteY45" fmla="*/ 0 h 5143500"/>
              <a:gd name="connsiteX46" fmla="*/ 9144000 w 9144000"/>
              <a:gd name="connsiteY46" fmla="*/ 0 h 5143500"/>
              <a:gd name="connsiteX47" fmla="*/ 9144000 w 9144000"/>
              <a:gd name="connsiteY47" fmla="*/ 5143500 h 5143500"/>
              <a:gd name="connsiteX48" fmla="*/ 0 w 9144000"/>
              <a:gd name="connsiteY48" fmla="*/ 5143500 h 5143500"/>
              <a:gd name="connsiteX49" fmla="*/ 0 w 9144000"/>
              <a:gd name="connsiteY49" fmla="*/ 204789 h 5143500"/>
              <a:gd name="connsiteX50" fmla="*/ 366713 w 9144000"/>
              <a:gd name="connsiteY50" fmla="*/ 20478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144000" h="5143500">
                <a:moveTo>
                  <a:pt x="922165" y="3061411"/>
                </a:moveTo>
                <a:cubicBezTo>
                  <a:pt x="893907" y="3061411"/>
                  <a:pt x="870998" y="3084320"/>
                  <a:pt x="870998" y="3112578"/>
                </a:cubicBezTo>
                <a:cubicBezTo>
                  <a:pt x="870998" y="3140839"/>
                  <a:pt x="893907" y="3163745"/>
                  <a:pt x="922165" y="3163745"/>
                </a:cubicBezTo>
                <a:cubicBezTo>
                  <a:pt x="950428" y="3163745"/>
                  <a:pt x="973334" y="3140839"/>
                  <a:pt x="973334" y="3112578"/>
                </a:cubicBezTo>
                <a:cubicBezTo>
                  <a:pt x="973334" y="3084320"/>
                  <a:pt x="950428" y="3061411"/>
                  <a:pt x="922165" y="3061411"/>
                </a:cubicBezTo>
                <a:close/>
                <a:moveTo>
                  <a:pt x="1152553" y="2831294"/>
                </a:moveTo>
                <a:cubicBezTo>
                  <a:pt x="1124295" y="2831294"/>
                  <a:pt x="1101386" y="2854203"/>
                  <a:pt x="1101386" y="2882461"/>
                </a:cubicBezTo>
                <a:cubicBezTo>
                  <a:pt x="1101386" y="2910722"/>
                  <a:pt x="1124295" y="2933628"/>
                  <a:pt x="1152553" y="2933628"/>
                </a:cubicBezTo>
                <a:cubicBezTo>
                  <a:pt x="1180814" y="2933628"/>
                  <a:pt x="1203720" y="2910722"/>
                  <a:pt x="1203720" y="2882461"/>
                </a:cubicBezTo>
                <a:cubicBezTo>
                  <a:pt x="1203720" y="2854203"/>
                  <a:pt x="1180814" y="2831294"/>
                  <a:pt x="1152553" y="2831294"/>
                </a:cubicBezTo>
                <a:close/>
                <a:moveTo>
                  <a:pt x="691776" y="2831294"/>
                </a:moveTo>
                <a:cubicBezTo>
                  <a:pt x="663518" y="2831294"/>
                  <a:pt x="640609" y="2854203"/>
                  <a:pt x="640609" y="2882461"/>
                </a:cubicBezTo>
                <a:cubicBezTo>
                  <a:pt x="640609" y="2910722"/>
                  <a:pt x="663518" y="2933628"/>
                  <a:pt x="691776" y="2933628"/>
                </a:cubicBezTo>
                <a:cubicBezTo>
                  <a:pt x="720037" y="2933628"/>
                  <a:pt x="742943" y="2910722"/>
                  <a:pt x="742943" y="2882461"/>
                </a:cubicBezTo>
                <a:cubicBezTo>
                  <a:pt x="742943" y="2854203"/>
                  <a:pt x="720037" y="2831294"/>
                  <a:pt x="691776" y="2831294"/>
                </a:cubicBezTo>
                <a:close/>
                <a:moveTo>
                  <a:pt x="922236" y="2722546"/>
                </a:moveTo>
                <a:cubicBezTo>
                  <a:pt x="893980" y="2722546"/>
                  <a:pt x="871069" y="2745455"/>
                  <a:pt x="871069" y="2773711"/>
                </a:cubicBezTo>
                <a:lnTo>
                  <a:pt x="871069" y="2780103"/>
                </a:lnTo>
                <a:cubicBezTo>
                  <a:pt x="871069" y="2808366"/>
                  <a:pt x="848162" y="2831270"/>
                  <a:pt x="819902" y="2831270"/>
                </a:cubicBezTo>
                <a:lnTo>
                  <a:pt x="813505" y="2831272"/>
                </a:lnTo>
                <a:cubicBezTo>
                  <a:pt x="785247" y="2831272"/>
                  <a:pt x="762338" y="2854178"/>
                  <a:pt x="762338" y="2882439"/>
                </a:cubicBezTo>
                <a:cubicBezTo>
                  <a:pt x="762338" y="2910700"/>
                  <a:pt x="785247" y="2933606"/>
                  <a:pt x="813505" y="2933606"/>
                </a:cubicBezTo>
                <a:lnTo>
                  <a:pt x="819902" y="2933606"/>
                </a:lnTo>
                <a:cubicBezTo>
                  <a:pt x="848162" y="2933606"/>
                  <a:pt x="871069" y="2956512"/>
                  <a:pt x="871069" y="2984773"/>
                </a:cubicBezTo>
                <a:lnTo>
                  <a:pt x="871069" y="2991165"/>
                </a:lnTo>
                <a:cubicBezTo>
                  <a:pt x="871069" y="3019428"/>
                  <a:pt x="893980" y="3042334"/>
                  <a:pt x="922236" y="3042334"/>
                </a:cubicBezTo>
                <a:cubicBezTo>
                  <a:pt x="950499" y="3042334"/>
                  <a:pt x="973405" y="3019428"/>
                  <a:pt x="973405" y="2991165"/>
                </a:cubicBezTo>
                <a:lnTo>
                  <a:pt x="973405" y="2984773"/>
                </a:lnTo>
                <a:cubicBezTo>
                  <a:pt x="973405" y="2956512"/>
                  <a:pt x="996313" y="2933606"/>
                  <a:pt x="1024574" y="2933606"/>
                </a:cubicBezTo>
                <a:lnTo>
                  <a:pt x="1030964" y="2933606"/>
                </a:lnTo>
                <a:cubicBezTo>
                  <a:pt x="1059225" y="2933606"/>
                  <a:pt x="1082133" y="2910700"/>
                  <a:pt x="1082133" y="2882439"/>
                </a:cubicBezTo>
                <a:cubicBezTo>
                  <a:pt x="1082133" y="2854178"/>
                  <a:pt x="1059225" y="2831272"/>
                  <a:pt x="1030964" y="2831272"/>
                </a:cubicBezTo>
                <a:lnTo>
                  <a:pt x="1024574" y="2831272"/>
                </a:lnTo>
                <a:cubicBezTo>
                  <a:pt x="996313" y="2831272"/>
                  <a:pt x="973405" y="2808366"/>
                  <a:pt x="973405" y="2780103"/>
                </a:cubicBezTo>
                <a:lnTo>
                  <a:pt x="973405" y="2773711"/>
                </a:lnTo>
                <a:cubicBezTo>
                  <a:pt x="973405" y="2745455"/>
                  <a:pt x="950499" y="2722546"/>
                  <a:pt x="922236" y="2722546"/>
                </a:cubicBezTo>
                <a:close/>
                <a:moveTo>
                  <a:pt x="922165" y="2601175"/>
                </a:moveTo>
                <a:cubicBezTo>
                  <a:pt x="893907" y="2601175"/>
                  <a:pt x="870998" y="2624084"/>
                  <a:pt x="870998" y="2652342"/>
                </a:cubicBezTo>
                <a:cubicBezTo>
                  <a:pt x="870998" y="2680603"/>
                  <a:pt x="893907" y="2703509"/>
                  <a:pt x="922165" y="2703509"/>
                </a:cubicBezTo>
                <a:cubicBezTo>
                  <a:pt x="950428" y="2703509"/>
                  <a:pt x="973334" y="2680603"/>
                  <a:pt x="973334" y="2652342"/>
                </a:cubicBezTo>
                <a:cubicBezTo>
                  <a:pt x="973334" y="2624084"/>
                  <a:pt x="950428" y="2601175"/>
                  <a:pt x="922165" y="2601175"/>
                </a:cubicBezTo>
                <a:close/>
                <a:moveTo>
                  <a:pt x="366713" y="0"/>
                </a:moveTo>
                <a:lnTo>
                  <a:pt x="7513547" y="0"/>
                </a:lnTo>
                <a:lnTo>
                  <a:pt x="7513547" y="411479"/>
                </a:lnTo>
                <a:lnTo>
                  <a:pt x="8778239" y="411479"/>
                </a:lnTo>
                <a:lnTo>
                  <a:pt x="8778239" y="0"/>
                </a:lnTo>
                <a:lnTo>
                  <a:pt x="9144000" y="0"/>
                </a:lnTo>
                <a:lnTo>
                  <a:pt x="9144000" y="5143500"/>
                </a:lnTo>
                <a:lnTo>
                  <a:pt x="0" y="5143500"/>
                </a:lnTo>
                <a:lnTo>
                  <a:pt x="0" y="204789"/>
                </a:lnTo>
                <a:lnTo>
                  <a:pt x="366713" y="204789"/>
                </a:lnTo>
                <a:close/>
              </a:path>
            </a:pathLst>
          </a:custGeom>
          <a:blipFill>
            <a:blip r:embed="rId6"/>
            <a:stretch>
              <a:fillRect/>
            </a:stretch>
          </a:blipFill>
        </p:spPr>
        <p:txBody>
          <a:bodyPr wrap="square" bIns="2412000" anchor="ctr">
            <a:noAutofit/>
          </a:bodyPr>
          <a:lstStyle>
            <a:lvl1pPr marL="0" indent="0" algn="ctr" rtl="0">
              <a:buNone/>
              <a:defRPr>
                <a:solidFill>
                  <a:schemeClr val="bg1"/>
                </a:solidFill>
              </a:defRPr>
            </a:lvl1pPr>
          </a:lstStyle>
          <a:p>
            <a:r>
              <a:rPr lang="de-DE" dirty="0"/>
              <a:t>Bild hinzufügen</a:t>
            </a:r>
          </a:p>
        </p:txBody>
      </p:sp>
      <p:pic>
        <p:nvPicPr>
          <p:cNvPr id="14" name="Graphic 13">
            <a:extLst>
              <a:ext uri="{FF2B5EF4-FFF2-40B4-BE49-F238E27FC236}">
                <a16:creationId xmlns:a16="http://schemas.microsoft.com/office/drawing/2014/main" id="{43CD198E-4F0F-457A-9B03-F4B60CE74421}"/>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513547" y="0"/>
            <a:ext cx="1264692" cy="411479"/>
          </a:xfrm>
          <a:prstGeom prst="rect">
            <a:avLst/>
          </a:prstGeom>
        </p:spPr>
      </p:pic>
      <p:sp>
        <p:nvSpPr>
          <p:cNvPr id="17" name="Title 16">
            <a:extLst>
              <a:ext uri="{FF2B5EF4-FFF2-40B4-BE49-F238E27FC236}">
                <a16:creationId xmlns:a16="http://schemas.microsoft.com/office/drawing/2014/main" id="{C37A9F18-7345-44F8-9B61-DAA9D97F193F}"/>
              </a:ext>
            </a:extLst>
          </p:cNvPr>
          <p:cNvSpPr>
            <a:spLocks noGrp="1"/>
          </p:cNvSpPr>
          <p:nvPr>
            <p:ph type="title" hasCustomPrompt="1"/>
          </p:nvPr>
        </p:nvSpPr>
        <p:spPr>
          <a:xfrm>
            <a:off x="731839" y="224577"/>
            <a:ext cx="3657599" cy="252377"/>
          </a:xfrm>
        </p:spPr>
        <p:txBody>
          <a:bodyPr vert="horz">
            <a:noAutofit/>
          </a:bodyPr>
          <a:lstStyle>
            <a:lvl1pPr rtl="0">
              <a:defRPr cap="all" baseline="0">
                <a:solidFill>
                  <a:schemeClr val="bg1"/>
                </a:solidFill>
              </a:defRPr>
            </a:lvl1pPr>
          </a:lstStyle>
          <a:p>
            <a:r>
              <a:rPr lang="de-DE" noProof="0" dirty="0"/>
              <a:t>Titel hinzufügen</a:t>
            </a:r>
            <a:endParaRPr lang="de-DE" dirty="0"/>
          </a:p>
        </p:txBody>
      </p:sp>
      <p:sp>
        <p:nvSpPr>
          <p:cNvPr id="35" name="Text Placeholder 34">
            <a:extLst>
              <a:ext uri="{FF2B5EF4-FFF2-40B4-BE49-F238E27FC236}">
                <a16:creationId xmlns:a16="http://schemas.microsoft.com/office/drawing/2014/main" id="{A0646D94-D23C-4631-A250-162280B922B5}"/>
              </a:ext>
            </a:extLst>
          </p:cNvPr>
          <p:cNvSpPr>
            <a:spLocks noGrp="1"/>
          </p:cNvSpPr>
          <p:nvPr>
            <p:ph type="body" sz="quarter" idx="19" hasCustomPrompt="1"/>
          </p:nvPr>
        </p:nvSpPr>
        <p:spPr>
          <a:xfrm>
            <a:off x="366713" y="2881313"/>
            <a:ext cx="8410575" cy="1851025"/>
          </a:xfrm>
          <a:custGeom>
            <a:avLst/>
            <a:gdLst>
              <a:gd name="connsiteX0" fmla="*/ 555452 w 8410575"/>
              <a:gd name="connsiteY0" fmla="*/ 180098 h 1851025"/>
              <a:gd name="connsiteX1" fmla="*/ 504285 w 8410575"/>
              <a:gd name="connsiteY1" fmla="*/ 231265 h 1851025"/>
              <a:gd name="connsiteX2" fmla="*/ 555452 w 8410575"/>
              <a:gd name="connsiteY2" fmla="*/ 282432 h 1851025"/>
              <a:gd name="connsiteX3" fmla="*/ 606621 w 8410575"/>
              <a:gd name="connsiteY3" fmla="*/ 231265 h 1851025"/>
              <a:gd name="connsiteX4" fmla="*/ 555452 w 8410575"/>
              <a:gd name="connsiteY4" fmla="*/ 180098 h 1851025"/>
              <a:gd name="connsiteX5" fmla="*/ 0 w 8410575"/>
              <a:gd name="connsiteY5" fmla="*/ 0 h 1851025"/>
              <a:gd name="connsiteX6" fmla="*/ 274372 w 8410575"/>
              <a:gd name="connsiteY6" fmla="*/ 0 h 1851025"/>
              <a:gd name="connsiteX7" fmla="*/ 273896 w 8410575"/>
              <a:gd name="connsiteY7" fmla="*/ 1148 h 1851025"/>
              <a:gd name="connsiteX8" fmla="*/ 325063 w 8410575"/>
              <a:gd name="connsiteY8" fmla="*/ 52315 h 1851025"/>
              <a:gd name="connsiteX9" fmla="*/ 376230 w 8410575"/>
              <a:gd name="connsiteY9" fmla="*/ 1148 h 1851025"/>
              <a:gd name="connsiteX10" fmla="*/ 375755 w 8410575"/>
              <a:gd name="connsiteY10" fmla="*/ 0 h 1851025"/>
              <a:gd name="connsiteX11" fmla="*/ 396092 w 8410575"/>
              <a:gd name="connsiteY11" fmla="*/ 0 h 1851025"/>
              <a:gd name="connsiteX12" fmla="*/ 395625 w 8410575"/>
              <a:gd name="connsiteY12" fmla="*/ 1126 h 1851025"/>
              <a:gd name="connsiteX13" fmla="*/ 446792 w 8410575"/>
              <a:gd name="connsiteY13" fmla="*/ 52293 h 1851025"/>
              <a:gd name="connsiteX14" fmla="*/ 453189 w 8410575"/>
              <a:gd name="connsiteY14" fmla="*/ 52293 h 1851025"/>
              <a:gd name="connsiteX15" fmla="*/ 504356 w 8410575"/>
              <a:gd name="connsiteY15" fmla="*/ 103460 h 1851025"/>
              <a:gd name="connsiteX16" fmla="*/ 504356 w 8410575"/>
              <a:gd name="connsiteY16" fmla="*/ 109852 h 1851025"/>
              <a:gd name="connsiteX17" fmla="*/ 555523 w 8410575"/>
              <a:gd name="connsiteY17" fmla="*/ 161021 h 1851025"/>
              <a:gd name="connsiteX18" fmla="*/ 606692 w 8410575"/>
              <a:gd name="connsiteY18" fmla="*/ 109852 h 1851025"/>
              <a:gd name="connsiteX19" fmla="*/ 606692 w 8410575"/>
              <a:gd name="connsiteY19" fmla="*/ 103460 h 1851025"/>
              <a:gd name="connsiteX20" fmla="*/ 657861 w 8410575"/>
              <a:gd name="connsiteY20" fmla="*/ 52293 h 1851025"/>
              <a:gd name="connsiteX21" fmla="*/ 664251 w 8410575"/>
              <a:gd name="connsiteY21" fmla="*/ 52293 h 1851025"/>
              <a:gd name="connsiteX22" fmla="*/ 715420 w 8410575"/>
              <a:gd name="connsiteY22" fmla="*/ 1126 h 1851025"/>
              <a:gd name="connsiteX23" fmla="*/ 714954 w 8410575"/>
              <a:gd name="connsiteY23" fmla="*/ 0 h 1851025"/>
              <a:gd name="connsiteX24" fmla="*/ 735149 w 8410575"/>
              <a:gd name="connsiteY24" fmla="*/ 0 h 1851025"/>
              <a:gd name="connsiteX25" fmla="*/ 734673 w 8410575"/>
              <a:gd name="connsiteY25" fmla="*/ 1148 h 1851025"/>
              <a:gd name="connsiteX26" fmla="*/ 785840 w 8410575"/>
              <a:gd name="connsiteY26" fmla="*/ 52315 h 1851025"/>
              <a:gd name="connsiteX27" fmla="*/ 837007 w 8410575"/>
              <a:gd name="connsiteY27" fmla="*/ 1148 h 1851025"/>
              <a:gd name="connsiteX28" fmla="*/ 836532 w 8410575"/>
              <a:gd name="connsiteY28" fmla="*/ 0 h 1851025"/>
              <a:gd name="connsiteX29" fmla="*/ 8410575 w 8410575"/>
              <a:gd name="connsiteY29" fmla="*/ 0 h 1851025"/>
              <a:gd name="connsiteX30" fmla="*/ 8410575 w 8410575"/>
              <a:gd name="connsiteY30" fmla="*/ 1851025 h 1851025"/>
              <a:gd name="connsiteX31" fmla="*/ 0 w 8410575"/>
              <a:gd name="connsiteY31" fmla="*/ 1851025 h 185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10575" h="1851025">
                <a:moveTo>
                  <a:pt x="555452" y="180098"/>
                </a:moveTo>
                <a:cubicBezTo>
                  <a:pt x="527194" y="180098"/>
                  <a:pt x="504285" y="203007"/>
                  <a:pt x="504285" y="231265"/>
                </a:cubicBezTo>
                <a:cubicBezTo>
                  <a:pt x="504285" y="259526"/>
                  <a:pt x="527194" y="282432"/>
                  <a:pt x="555452" y="282432"/>
                </a:cubicBezTo>
                <a:cubicBezTo>
                  <a:pt x="583715" y="282432"/>
                  <a:pt x="606621" y="259526"/>
                  <a:pt x="606621" y="231265"/>
                </a:cubicBezTo>
                <a:cubicBezTo>
                  <a:pt x="606621" y="203007"/>
                  <a:pt x="583715" y="180098"/>
                  <a:pt x="555452" y="180098"/>
                </a:cubicBezTo>
                <a:close/>
                <a:moveTo>
                  <a:pt x="0" y="0"/>
                </a:moveTo>
                <a:lnTo>
                  <a:pt x="274372" y="0"/>
                </a:lnTo>
                <a:lnTo>
                  <a:pt x="273896" y="1148"/>
                </a:lnTo>
                <a:cubicBezTo>
                  <a:pt x="273896" y="29409"/>
                  <a:pt x="296805" y="52315"/>
                  <a:pt x="325063" y="52315"/>
                </a:cubicBezTo>
                <a:cubicBezTo>
                  <a:pt x="353324" y="52315"/>
                  <a:pt x="376230" y="29409"/>
                  <a:pt x="376230" y="1148"/>
                </a:cubicBezTo>
                <a:lnTo>
                  <a:pt x="375755" y="0"/>
                </a:lnTo>
                <a:lnTo>
                  <a:pt x="396092" y="0"/>
                </a:lnTo>
                <a:lnTo>
                  <a:pt x="395625" y="1126"/>
                </a:lnTo>
                <a:cubicBezTo>
                  <a:pt x="395625" y="29387"/>
                  <a:pt x="418534" y="52293"/>
                  <a:pt x="446792" y="52293"/>
                </a:cubicBezTo>
                <a:lnTo>
                  <a:pt x="453189" y="52293"/>
                </a:lnTo>
                <a:cubicBezTo>
                  <a:pt x="481449" y="52293"/>
                  <a:pt x="504356" y="75199"/>
                  <a:pt x="504356" y="103460"/>
                </a:cubicBezTo>
                <a:lnTo>
                  <a:pt x="504356" y="109852"/>
                </a:lnTo>
                <a:cubicBezTo>
                  <a:pt x="504356" y="138115"/>
                  <a:pt x="527267" y="161021"/>
                  <a:pt x="555523" y="161021"/>
                </a:cubicBezTo>
                <a:cubicBezTo>
                  <a:pt x="583786" y="161021"/>
                  <a:pt x="606692" y="138115"/>
                  <a:pt x="606692" y="109852"/>
                </a:cubicBezTo>
                <a:lnTo>
                  <a:pt x="606692" y="103460"/>
                </a:lnTo>
                <a:cubicBezTo>
                  <a:pt x="606692" y="75199"/>
                  <a:pt x="629600" y="52293"/>
                  <a:pt x="657861" y="52293"/>
                </a:cubicBezTo>
                <a:lnTo>
                  <a:pt x="664251" y="52293"/>
                </a:lnTo>
                <a:cubicBezTo>
                  <a:pt x="692512" y="52293"/>
                  <a:pt x="715420" y="29387"/>
                  <a:pt x="715420" y="1126"/>
                </a:cubicBezTo>
                <a:lnTo>
                  <a:pt x="714954" y="0"/>
                </a:lnTo>
                <a:lnTo>
                  <a:pt x="735149" y="0"/>
                </a:lnTo>
                <a:lnTo>
                  <a:pt x="734673" y="1148"/>
                </a:lnTo>
                <a:cubicBezTo>
                  <a:pt x="734673" y="29409"/>
                  <a:pt x="757582" y="52315"/>
                  <a:pt x="785840" y="52315"/>
                </a:cubicBezTo>
                <a:cubicBezTo>
                  <a:pt x="814101" y="52315"/>
                  <a:pt x="837007" y="29409"/>
                  <a:pt x="837007" y="1148"/>
                </a:cubicBezTo>
                <a:lnTo>
                  <a:pt x="836532" y="0"/>
                </a:lnTo>
                <a:lnTo>
                  <a:pt x="8410575" y="0"/>
                </a:lnTo>
                <a:lnTo>
                  <a:pt x="8410575" y="1851025"/>
                </a:lnTo>
                <a:lnTo>
                  <a:pt x="0" y="1851025"/>
                </a:lnTo>
                <a:close/>
              </a:path>
            </a:pathLst>
          </a:custGeom>
          <a:solidFill>
            <a:schemeClr val="accent3">
              <a:alpha val="80000"/>
            </a:schemeClr>
          </a:solidFill>
        </p:spPr>
        <p:txBody>
          <a:bodyPr wrap="square" lIns="1080000" rIns="360000" anchor="ctr">
            <a:noAutofit/>
          </a:bodyPr>
          <a:lstStyle>
            <a:lvl1pPr marL="361950" indent="-361950" rtl="0">
              <a:buClr>
                <a:schemeClr val="bg1"/>
              </a:buClr>
              <a:buSzPct val="100000"/>
              <a:buFont typeface="+mj-lt"/>
              <a:buAutoNum type="arabicPeriod"/>
              <a:defRPr>
                <a:solidFill>
                  <a:schemeClr val="bg1"/>
                </a:solidFill>
              </a:defRPr>
            </a:lvl1pPr>
            <a:lvl2pPr marL="0" indent="0">
              <a:buFont typeface="Arial" panose="020B0604020202020204" pitchFamily="34" charset="0"/>
              <a:buNone/>
              <a:defRPr>
                <a:solidFill>
                  <a:schemeClr val="bg1"/>
                </a:solidFill>
              </a:defRPr>
            </a:lvl2pPr>
            <a:lvl3pPr marL="0" indent="0">
              <a:buFont typeface="Arial" panose="020B0604020202020204" pitchFamily="34" charset="0"/>
              <a:buNone/>
              <a:defRPr>
                <a:solidFill>
                  <a:schemeClr val="bg1"/>
                </a:solidFill>
              </a:defRPr>
            </a:lvl3pPr>
            <a:lvl4pPr marL="0" indent="0">
              <a:buFont typeface="Arial" panose="020B0604020202020204" pitchFamily="34" charset="0"/>
              <a:buNone/>
              <a:defRPr>
                <a:solidFill>
                  <a:schemeClr val="bg1"/>
                </a:solidFill>
              </a:defRPr>
            </a:lvl4pPr>
            <a:lvl5pPr marL="0" indent="0">
              <a:buFont typeface="Arial" panose="020B0604020202020204" pitchFamily="34" charset="0"/>
              <a:buNone/>
              <a:defRPr>
                <a:solidFill>
                  <a:schemeClr val="bg1"/>
                </a:solidFill>
              </a:defRPr>
            </a:lvl5pPr>
          </a:lstStyle>
          <a:p>
            <a:pPr lvl="0"/>
            <a:r>
              <a:rPr lang="de-DE" dirty="0" err="1"/>
              <a:t>Agendapunkt</a:t>
            </a:r>
            <a:r>
              <a:rPr lang="de-DE" dirty="0"/>
              <a:t> hinzufügen</a:t>
            </a:r>
          </a:p>
        </p:txBody>
      </p:sp>
    </p:spTree>
    <p:extLst>
      <p:ext uri="{BB962C8B-B14F-4D97-AF65-F5344CB8AC3E}">
        <p14:creationId xmlns:p14="http://schemas.microsoft.com/office/powerpoint/2010/main" val="2077652877"/>
      </p:ext>
    </p:extLst>
  </p:cSld>
  <p:clrMapOvr>
    <a:masterClrMapping/>
  </p:clrMapOvr>
  <p:extLst>
    <p:ext uri="{DCECCB84-F9BA-43D5-87BE-67443E8EF086}">
      <p15:sldGuideLst xmlns:p15="http://schemas.microsoft.com/office/powerpoint/2012/main">
        <p15:guide id="1" pos="231">
          <p15:clr>
            <a:srgbClr val="F26B43"/>
          </p15:clr>
        </p15:guide>
        <p15:guide id="2" orient="horz" pos="1815">
          <p15:clr>
            <a:srgbClr val="F26B43"/>
          </p15:clr>
        </p15:guide>
        <p15:guide id="3" orient="horz" pos="2981">
          <p15:clr>
            <a:srgbClr val="F26B43"/>
          </p15:clr>
        </p15:guide>
        <p15:guide id="4" pos="5529">
          <p15:clr>
            <a:srgbClr val="F26B43"/>
          </p15:clr>
        </p15:guide>
        <p15:guide id="5" pos="921"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 Vertikale Ausrichtu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7AD15DB-6C5F-413D-A194-0EF2FCB322C4}"/>
              </a:ext>
            </a:extLst>
          </p:cNvPr>
          <p:cNvGraphicFramePr>
            <a:graphicFrameLocks noChangeAspect="1"/>
          </p:cNvGraphicFramePr>
          <p:nvPr userDrawn="1">
            <p:custDataLst>
              <p:tags r:id="rId2"/>
            </p:custDataLst>
            <p:extLst>
              <p:ext uri="{D42A27DB-BD31-4B8C-83A1-F6EECF244321}">
                <p14:modId xmlns:p14="http://schemas.microsoft.com/office/powerpoint/2010/main" val="951404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46"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87AD15DB-6C5F-413D-A194-0EF2FCB322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05720F6F-C2F5-4036-B68C-EDBCA029D244}"/>
              </a:ext>
            </a:extLst>
          </p:cNvPr>
          <p:cNvSpPr/>
          <p:nvPr/>
        </p:nvSpPr>
        <p:spPr>
          <a:xfrm flipV="1">
            <a:off x="4210352" y="3833831"/>
            <a:ext cx="726772" cy="726072"/>
          </a:xfrm>
          <a:prstGeom prst="rect">
            <a:avLst/>
          </a:prstGeom>
          <a:solidFill>
            <a:schemeClr val="accent6"/>
          </a:solidFill>
          <a:ln w="2251" cap="flat">
            <a:noFill/>
            <a:prstDash val="solid"/>
            <a:miter/>
          </a:ln>
        </p:spPr>
        <p:txBody>
          <a:bodyPr rtlCol="0" anchor="ctr"/>
          <a:lstStyle/>
          <a:p>
            <a:pPr rtl="0"/>
            <a:endParaRPr lang="de-DE" dirty="0"/>
          </a:p>
        </p:txBody>
      </p:sp>
      <p:sp>
        <p:nvSpPr>
          <p:cNvPr id="37" name="Picture Placeholder 36">
            <a:extLst>
              <a:ext uri="{FF2B5EF4-FFF2-40B4-BE49-F238E27FC236}">
                <a16:creationId xmlns:a16="http://schemas.microsoft.com/office/drawing/2014/main" id="{821CCB68-AFFA-4FEE-8EE5-0AC93D3A4712}"/>
              </a:ext>
            </a:extLst>
          </p:cNvPr>
          <p:cNvSpPr>
            <a:spLocks noGrp="1"/>
          </p:cNvSpPr>
          <p:nvPr>
            <p:ph type="pic" sz="quarter" idx="18" hasCustomPrompt="1"/>
          </p:nvPr>
        </p:nvSpPr>
        <p:spPr>
          <a:xfrm>
            <a:off x="0" y="0"/>
            <a:ext cx="9144000" cy="5143500"/>
          </a:xfrm>
          <a:custGeom>
            <a:avLst/>
            <a:gdLst>
              <a:gd name="connsiteX0" fmla="*/ 4573738 w 9144000"/>
              <a:gd name="connsiteY0" fmla="*/ 4375818 h 5143500"/>
              <a:gd name="connsiteX1" fmla="*/ 4522571 w 9144000"/>
              <a:gd name="connsiteY1" fmla="*/ 4426985 h 5143500"/>
              <a:gd name="connsiteX2" fmla="*/ 4573738 w 9144000"/>
              <a:gd name="connsiteY2" fmla="*/ 4478152 h 5143500"/>
              <a:gd name="connsiteX3" fmla="*/ 4624907 w 9144000"/>
              <a:gd name="connsiteY3" fmla="*/ 4426985 h 5143500"/>
              <a:gd name="connsiteX4" fmla="*/ 4573738 w 9144000"/>
              <a:gd name="connsiteY4" fmla="*/ 4375818 h 5143500"/>
              <a:gd name="connsiteX5" fmla="*/ 4804126 w 9144000"/>
              <a:gd name="connsiteY5" fmla="*/ 4145701 h 5143500"/>
              <a:gd name="connsiteX6" fmla="*/ 4752959 w 9144000"/>
              <a:gd name="connsiteY6" fmla="*/ 4196868 h 5143500"/>
              <a:gd name="connsiteX7" fmla="*/ 4804126 w 9144000"/>
              <a:gd name="connsiteY7" fmla="*/ 4248035 h 5143500"/>
              <a:gd name="connsiteX8" fmla="*/ 4855293 w 9144000"/>
              <a:gd name="connsiteY8" fmla="*/ 4196868 h 5143500"/>
              <a:gd name="connsiteX9" fmla="*/ 4804126 w 9144000"/>
              <a:gd name="connsiteY9" fmla="*/ 4145701 h 5143500"/>
              <a:gd name="connsiteX10" fmla="*/ 4343349 w 9144000"/>
              <a:gd name="connsiteY10" fmla="*/ 4145701 h 5143500"/>
              <a:gd name="connsiteX11" fmla="*/ 4292182 w 9144000"/>
              <a:gd name="connsiteY11" fmla="*/ 4196868 h 5143500"/>
              <a:gd name="connsiteX12" fmla="*/ 4343349 w 9144000"/>
              <a:gd name="connsiteY12" fmla="*/ 4248035 h 5143500"/>
              <a:gd name="connsiteX13" fmla="*/ 4394516 w 9144000"/>
              <a:gd name="connsiteY13" fmla="*/ 4196868 h 5143500"/>
              <a:gd name="connsiteX14" fmla="*/ 4343349 w 9144000"/>
              <a:gd name="connsiteY14" fmla="*/ 4145701 h 5143500"/>
              <a:gd name="connsiteX15" fmla="*/ 4573809 w 9144000"/>
              <a:gd name="connsiteY15" fmla="*/ 4036953 h 5143500"/>
              <a:gd name="connsiteX16" fmla="*/ 4522642 w 9144000"/>
              <a:gd name="connsiteY16" fmla="*/ 4088118 h 5143500"/>
              <a:gd name="connsiteX17" fmla="*/ 4522642 w 9144000"/>
              <a:gd name="connsiteY17" fmla="*/ 4094510 h 5143500"/>
              <a:gd name="connsiteX18" fmla="*/ 4471475 w 9144000"/>
              <a:gd name="connsiteY18" fmla="*/ 4145677 h 5143500"/>
              <a:gd name="connsiteX19" fmla="*/ 4465078 w 9144000"/>
              <a:gd name="connsiteY19" fmla="*/ 4145679 h 5143500"/>
              <a:gd name="connsiteX20" fmla="*/ 4413911 w 9144000"/>
              <a:gd name="connsiteY20" fmla="*/ 4196846 h 5143500"/>
              <a:gd name="connsiteX21" fmla="*/ 4465078 w 9144000"/>
              <a:gd name="connsiteY21" fmla="*/ 4248013 h 5143500"/>
              <a:gd name="connsiteX22" fmla="*/ 4471475 w 9144000"/>
              <a:gd name="connsiteY22" fmla="*/ 4248013 h 5143500"/>
              <a:gd name="connsiteX23" fmla="*/ 4522642 w 9144000"/>
              <a:gd name="connsiteY23" fmla="*/ 4299180 h 5143500"/>
              <a:gd name="connsiteX24" fmla="*/ 4522642 w 9144000"/>
              <a:gd name="connsiteY24" fmla="*/ 4305572 h 5143500"/>
              <a:gd name="connsiteX25" fmla="*/ 4573809 w 9144000"/>
              <a:gd name="connsiteY25" fmla="*/ 4356741 h 5143500"/>
              <a:gd name="connsiteX26" fmla="*/ 4624978 w 9144000"/>
              <a:gd name="connsiteY26" fmla="*/ 4305572 h 5143500"/>
              <a:gd name="connsiteX27" fmla="*/ 4624978 w 9144000"/>
              <a:gd name="connsiteY27" fmla="*/ 4299180 h 5143500"/>
              <a:gd name="connsiteX28" fmla="*/ 4676147 w 9144000"/>
              <a:gd name="connsiteY28" fmla="*/ 4248013 h 5143500"/>
              <a:gd name="connsiteX29" fmla="*/ 4682537 w 9144000"/>
              <a:gd name="connsiteY29" fmla="*/ 4248013 h 5143500"/>
              <a:gd name="connsiteX30" fmla="*/ 4733706 w 9144000"/>
              <a:gd name="connsiteY30" fmla="*/ 4196846 h 5143500"/>
              <a:gd name="connsiteX31" fmla="*/ 4682537 w 9144000"/>
              <a:gd name="connsiteY31" fmla="*/ 4145679 h 5143500"/>
              <a:gd name="connsiteX32" fmla="*/ 4676147 w 9144000"/>
              <a:gd name="connsiteY32" fmla="*/ 4145679 h 5143500"/>
              <a:gd name="connsiteX33" fmla="*/ 4624978 w 9144000"/>
              <a:gd name="connsiteY33" fmla="*/ 4094510 h 5143500"/>
              <a:gd name="connsiteX34" fmla="*/ 4624978 w 9144000"/>
              <a:gd name="connsiteY34" fmla="*/ 4088118 h 5143500"/>
              <a:gd name="connsiteX35" fmla="*/ 4573809 w 9144000"/>
              <a:gd name="connsiteY35" fmla="*/ 4036953 h 5143500"/>
              <a:gd name="connsiteX36" fmla="*/ 4573738 w 9144000"/>
              <a:gd name="connsiteY36" fmla="*/ 3915582 h 5143500"/>
              <a:gd name="connsiteX37" fmla="*/ 4522571 w 9144000"/>
              <a:gd name="connsiteY37" fmla="*/ 3966749 h 5143500"/>
              <a:gd name="connsiteX38" fmla="*/ 4573738 w 9144000"/>
              <a:gd name="connsiteY38" fmla="*/ 4017916 h 5143500"/>
              <a:gd name="connsiteX39" fmla="*/ 4624907 w 9144000"/>
              <a:gd name="connsiteY39" fmla="*/ 3966749 h 5143500"/>
              <a:gd name="connsiteX40" fmla="*/ 4573738 w 9144000"/>
              <a:gd name="connsiteY40" fmla="*/ 3915582 h 5143500"/>
              <a:gd name="connsiteX41" fmla="*/ 366713 w 9144000"/>
              <a:gd name="connsiteY41" fmla="*/ 0 h 5143500"/>
              <a:gd name="connsiteX42" fmla="*/ 7513547 w 9144000"/>
              <a:gd name="connsiteY42" fmla="*/ 0 h 5143500"/>
              <a:gd name="connsiteX43" fmla="*/ 7513547 w 9144000"/>
              <a:gd name="connsiteY43" fmla="*/ 411479 h 5143500"/>
              <a:gd name="connsiteX44" fmla="*/ 8778239 w 9144000"/>
              <a:gd name="connsiteY44" fmla="*/ 411479 h 5143500"/>
              <a:gd name="connsiteX45" fmla="*/ 8778239 w 9144000"/>
              <a:gd name="connsiteY45" fmla="*/ 0 h 5143500"/>
              <a:gd name="connsiteX46" fmla="*/ 9144000 w 9144000"/>
              <a:gd name="connsiteY46" fmla="*/ 0 h 5143500"/>
              <a:gd name="connsiteX47" fmla="*/ 9144000 w 9144000"/>
              <a:gd name="connsiteY47" fmla="*/ 5143500 h 5143500"/>
              <a:gd name="connsiteX48" fmla="*/ 0 w 9144000"/>
              <a:gd name="connsiteY48" fmla="*/ 5143500 h 5143500"/>
              <a:gd name="connsiteX49" fmla="*/ 0 w 9144000"/>
              <a:gd name="connsiteY49" fmla="*/ 204789 h 5143500"/>
              <a:gd name="connsiteX50" fmla="*/ 366713 w 9144000"/>
              <a:gd name="connsiteY50" fmla="*/ 20478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144000" h="5143500">
                <a:moveTo>
                  <a:pt x="4573738" y="4375818"/>
                </a:moveTo>
                <a:cubicBezTo>
                  <a:pt x="4545480" y="4375818"/>
                  <a:pt x="4522571" y="4398727"/>
                  <a:pt x="4522571" y="4426985"/>
                </a:cubicBezTo>
                <a:cubicBezTo>
                  <a:pt x="4522571" y="4455246"/>
                  <a:pt x="4545480" y="4478152"/>
                  <a:pt x="4573738" y="4478152"/>
                </a:cubicBezTo>
                <a:cubicBezTo>
                  <a:pt x="4602001" y="4478152"/>
                  <a:pt x="4624907" y="4455246"/>
                  <a:pt x="4624907" y="4426985"/>
                </a:cubicBezTo>
                <a:cubicBezTo>
                  <a:pt x="4624907" y="4398727"/>
                  <a:pt x="4602001" y="4375818"/>
                  <a:pt x="4573738" y="4375818"/>
                </a:cubicBezTo>
                <a:close/>
                <a:moveTo>
                  <a:pt x="4804126" y="4145701"/>
                </a:moveTo>
                <a:cubicBezTo>
                  <a:pt x="4775868" y="4145701"/>
                  <a:pt x="4752959" y="4168610"/>
                  <a:pt x="4752959" y="4196868"/>
                </a:cubicBezTo>
                <a:cubicBezTo>
                  <a:pt x="4752959" y="4225129"/>
                  <a:pt x="4775868" y="4248035"/>
                  <a:pt x="4804126" y="4248035"/>
                </a:cubicBezTo>
                <a:cubicBezTo>
                  <a:pt x="4832387" y="4248035"/>
                  <a:pt x="4855293" y="4225129"/>
                  <a:pt x="4855293" y="4196868"/>
                </a:cubicBezTo>
                <a:cubicBezTo>
                  <a:pt x="4855293" y="4168610"/>
                  <a:pt x="4832387" y="4145701"/>
                  <a:pt x="4804126" y="4145701"/>
                </a:cubicBezTo>
                <a:close/>
                <a:moveTo>
                  <a:pt x="4343349" y="4145701"/>
                </a:moveTo>
                <a:cubicBezTo>
                  <a:pt x="4315091" y="4145701"/>
                  <a:pt x="4292182" y="4168610"/>
                  <a:pt x="4292182" y="4196868"/>
                </a:cubicBezTo>
                <a:cubicBezTo>
                  <a:pt x="4292182" y="4225129"/>
                  <a:pt x="4315091" y="4248035"/>
                  <a:pt x="4343349" y="4248035"/>
                </a:cubicBezTo>
                <a:cubicBezTo>
                  <a:pt x="4371610" y="4248035"/>
                  <a:pt x="4394516" y="4225129"/>
                  <a:pt x="4394516" y="4196868"/>
                </a:cubicBezTo>
                <a:cubicBezTo>
                  <a:pt x="4394516" y="4168610"/>
                  <a:pt x="4371610" y="4145701"/>
                  <a:pt x="4343349" y="4145701"/>
                </a:cubicBezTo>
                <a:close/>
                <a:moveTo>
                  <a:pt x="4573809" y="4036953"/>
                </a:moveTo>
                <a:cubicBezTo>
                  <a:pt x="4545553" y="4036953"/>
                  <a:pt x="4522642" y="4059862"/>
                  <a:pt x="4522642" y="4088118"/>
                </a:cubicBezTo>
                <a:lnTo>
                  <a:pt x="4522642" y="4094510"/>
                </a:lnTo>
                <a:cubicBezTo>
                  <a:pt x="4522642" y="4122773"/>
                  <a:pt x="4499735" y="4145677"/>
                  <a:pt x="4471475" y="4145677"/>
                </a:cubicBezTo>
                <a:lnTo>
                  <a:pt x="4465078" y="4145679"/>
                </a:lnTo>
                <a:cubicBezTo>
                  <a:pt x="4436820" y="4145679"/>
                  <a:pt x="4413911" y="4168585"/>
                  <a:pt x="4413911" y="4196846"/>
                </a:cubicBezTo>
                <a:cubicBezTo>
                  <a:pt x="4413911" y="4225107"/>
                  <a:pt x="4436820" y="4248013"/>
                  <a:pt x="4465078" y="4248013"/>
                </a:cubicBezTo>
                <a:lnTo>
                  <a:pt x="4471475" y="4248013"/>
                </a:lnTo>
                <a:cubicBezTo>
                  <a:pt x="4499735" y="4248013"/>
                  <a:pt x="4522642" y="4270919"/>
                  <a:pt x="4522642" y="4299180"/>
                </a:cubicBezTo>
                <a:lnTo>
                  <a:pt x="4522642" y="4305572"/>
                </a:lnTo>
                <a:cubicBezTo>
                  <a:pt x="4522642" y="4333835"/>
                  <a:pt x="4545553" y="4356741"/>
                  <a:pt x="4573809" y="4356741"/>
                </a:cubicBezTo>
                <a:cubicBezTo>
                  <a:pt x="4602072" y="4356741"/>
                  <a:pt x="4624978" y="4333835"/>
                  <a:pt x="4624978" y="4305572"/>
                </a:cubicBezTo>
                <a:lnTo>
                  <a:pt x="4624978" y="4299180"/>
                </a:lnTo>
                <a:cubicBezTo>
                  <a:pt x="4624978" y="4270919"/>
                  <a:pt x="4647886" y="4248013"/>
                  <a:pt x="4676147" y="4248013"/>
                </a:cubicBezTo>
                <a:lnTo>
                  <a:pt x="4682537" y="4248013"/>
                </a:lnTo>
                <a:cubicBezTo>
                  <a:pt x="4710798" y="4248013"/>
                  <a:pt x="4733706" y="4225107"/>
                  <a:pt x="4733706" y="4196846"/>
                </a:cubicBezTo>
                <a:cubicBezTo>
                  <a:pt x="4733706" y="4168585"/>
                  <a:pt x="4710798" y="4145679"/>
                  <a:pt x="4682537" y="4145679"/>
                </a:cubicBezTo>
                <a:lnTo>
                  <a:pt x="4676147" y="4145679"/>
                </a:lnTo>
                <a:cubicBezTo>
                  <a:pt x="4647886" y="4145679"/>
                  <a:pt x="4624978" y="4122773"/>
                  <a:pt x="4624978" y="4094510"/>
                </a:cubicBezTo>
                <a:lnTo>
                  <a:pt x="4624978" y="4088118"/>
                </a:lnTo>
                <a:cubicBezTo>
                  <a:pt x="4624978" y="4059862"/>
                  <a:pt x="4602072" y="4036953"/>
                  <a:pt x="4573809" y="4036953"/>
                </a:cubicBezTo>
                <a:close/>
                <a:moveTo>
                  <a:pt x="4573738" y="3915582"/>
                </a:moveTo>
                <a:cubicBezTo>
                  <a:pt x="4545480" y="3915582"/>
                  <a:pt x="4522571" y="3938491"/>
                  <a:pt x="4522571" y="3966749"/>
                </a:cubicBezTo>
                <a:cubicBezTo>
                  <a:pt x="4522571" y="3995010"/>
                  <a:pt x="4545480" y="4017916"/>
                  <a:pt x="4573738" y="4017916"/>
                </a:cubicBezTo>
                <a:cubicBezTo>
                  <a:pt x="4602001" y="4017916"/>
                  <a:pt x="4624907" y="3995010"/>
                  <a:pt x="4624907" y="3966749"/>
                </a:cubicBezTo>
                <a:cubicBezTo>
                  <a:pt x="4624907" y="3938491"/>
                  <a:pt x="4602001" y="3915582"/>
                  <a:pt x="4573738" y="3915582"/>
                </a:cubicBezTo>
                <a:close/>
                <a:moveTo>
                  <a:pt x="366713" y="0"/>
                </a:moveTo>
                <a:lnTo>
                  <a:pt x="7513547" y="0"/>
                </a:lnTo>
                <a:lnTo>
                  <a:pt x="7513547" y="411479"/>
                </a:lnTo>
                <a:lnTo>
                  <a:pt x="8778239" y="411479"/>
                </a:lnTo>
                <a:lnTo>
                  <a:pt x="8778239" y="0"/>
                </a:lnTo>
                <a:lnTo>
                  <a:pt x="9144000" y="0"/>
                </a:lnTo>
                <a:lnTo>
                  <a:pt x="9144000" y="5143500"/>
                </a:lnTo>
                <a:lnTo>
                  <a:pt x="0" y="5143500"/>
                </a:lnTo>
                <a:lnTo>
                  <a:pt x="0" y="204789"/>
                </a:lnTo>
                <a:lnTo>
                  <a:pt x="366713" y="204789"/>
                </a:lnTo>
                <a:close/>
              </a:path>
            </a:pathLst>
          </a:custGeom>
          <a:blipFill>
            <a:blip r:embed="rId6"/>
            <a:stretch>
              <a:fillRect/>
            </a:stretch>
          </a:blipFill>
        </p:spPr>
        <p:txBody>
          <a:bodyPr wrap="square" lIns="4428000" rIns="0" anchor="ctr">
            <a:noAutofit/>
          </a:bodyPr>
          <a:lstStyle>
            <a:lvl1pPr marL="0" indent="0" algn="ctr" rtl="0">
              <a:buNone/>
              <a:defRPr>
                <a:solidFill>
                  <a:schemeClr val="bg1"/>
                </a:solidFill>
              </a:defRPr>
            </a:lvl1pPr>
          </a:lstStyle>
          <a:p>
            <a:r>
              <a:rPr lang="de-DE" dirty="0"/>
              <a:t>Bild hinzufügen</a:t>
            </a:r>
          </a:p>
        </p:txBody>
      </p:sp>
      <p:sp>
        <p:nvSpPr>
          <p:cNvPr id="17" name="Text Placeholder 16">
            <a:extLst>
              <a:ext uri="{FF2B5EF4-FFF2-40B4-BE49-F238E27FC236}">
                <a16:creationId xmlns:a16="http://schemas.microsoft.com/office/drawing/2014/main" id="{97D90425-B5E3-40D4-983D-00BD03550A90}"/>
              </a:ext>
            </a:extLst>
          </p:cNvPr>
          <p:cNvSpPr>
            <a:spLocks noGrp="1"/>
          </p:cNvSpPr>
          <p:nvPr>
            <p:ph type="body" sz="quarter" idx="19" hasCustomPrompt="1"/>
          </p:nvPr>
        </p:nvSpPr>
        <p:spPr>
          <a:xfrm>
            <a:off x="366713" y="617539"/>
            <a:ext cx="4205287" cy="4114800"/>
          </a:xfrm>
          <a:custGeom>
            <a:avLst/>
            <a:gdLst>
              <a:gd name="connsiteX0" fmla="*/ 3976636 w 4205287"/>
              <a:gd name="connsiteY0" fmla="*/ 3528162 h 4114800"/>
              <a:gd name="connsiteX1" fmla="*/ 3925469 w 4205287"/>
              <a:gd name="connsiteY1" fmla="*/ 3579329 h 4114800"/>
              <a:gd name="connsiteX2" fmla="*/ 3976636 w 4205287"/>
              <a:gd name="connsiteY2" fmla="*/ 3630496 h 4114800"/>
              <a:gd name="connsiteX3" fmla="*/ 4027803 w 4205287"/>
              <a:gd name="connsiteY3" fmla="*/ 3579329 h 4114800"/>
              <a:gd name="connsiteX4" fmla="*/ 3976636 w 4205287"/>
              <a:gd name="connsiteY4" fmla="*/ 3528162 h 4114800"/>
              <a:gd name="connsiteX5" fmla="*/ 0 w 4205287"/>
              <a:gd name="connsiteY5" fmla="*/ 0 h 4114800"/>
              <a:gd name="connsiteX6" fmla="*/ 4205287 w 4205287"/>
              <a:gd name="connsiteY6" fmla="*/ 0 h 4114800"/>
              <a:gd name="connsiteX7" fmla="*/ 4205287 w 4205287"/>
              <a:gd name="connsiteY7" fmla="*/ 3298394 h 4114800"/>
              <a:gd name="connsiteX8" fmla="*/ 4187109 w 4205287"/>
              <a:gd name="connsiteY8" fmla="*/ 3302064 h 4114800"/>
              <a:gd name="connsiteX9" fmla="*/ 4155858 w 4205287"/>
              <a:gd name="connsiteY9" fmla="*/ 3349210 h 4114800"/>
              <a:gd name="connsiteX10" fmla="*/ 4187109 w 4205287"/>
              <a:gd name="connsiteY10" fmla="*/ 3396357 h 4114800"/>
              <a:gd name="connsiteX11" fmla="*/ 4205287 w 4205287"/>
              <a:gd name="connsiteY11" fmla="*/ 3400026 h 4114800"/>
              <a:gd name="connsiteX12" fmla="*/ 4205287 w 4205287"/>
              <a:gd name="connsiteY12" fmla="*/ 3419779 h 4114800"/>
              <a:gd name="connsiteX13" fmla="*/ 4187181 w 4205287"/>
              <a:gd name="connsiteY13" fmla="*/ 3423435 h 4114800"/>
              <a:gd name="connsiteX14" fmla="*/ 4155929 w 4205287"/>
              <a:gd name="connsiteY14" fmla="*/ 3470579 h 4114800"/>
              <a:gd name="connsiteX15" fmla="*/ 4155929 w 4205287"/>
              <a:gd name="connsiteY15" fmla="*/ 3476971 h 4114800"/>
              <a:gd name="connsiteX16" fmla="*/ 4104762 w 4205287"/>
              <a:gd name="connsiteY16" fmla="*/ 3528138 h 4114800"/>
              <a:gd name="connsiteX17" fmla="*/ 4098365 w 4205287"/>
              <a:gd name="connsiteY17" fmla="*/ 3528140 h 4114800"/>
              <a:gd name="connsiteX18" fmla="*/ 4047198 w 4205287"/>
              <a:gd name="connsiteY18" fmla="*/ 3579307 h 4114800"/>
              <a:gd name="connsiteX19" fmla="*/ 4098365 w 4205287"/>
              <a:gd name="connsiteY19" fmla="*/ 3630474 h 4114800"/>
              <a:gd name="connsiteX20" fmla="*/ 4104762 w 4205287"/>
              <a:gd name="connsiteY20" fmla="*/ 3630474 h 4114800"/>
              <a:gd name="connsiteX21" fmla="*/ 4155929 w 4205287"/>
              <a:gd name="connsiteY21" fmla="*/ 3681641 h 4114800"/>
              <a:gd name="connsiteX22" fmla="*/ 4155929 w 4205287"/>
              <a:gd name="connsiteY22" fmla="*/ 3688033 h 4114800"/>
              <a:gd name="connsiteX23" fmla="*/ 4187181 w 4205287"/>
              <a:gd name="connsiteY23" fmla="*/ 3735182 h 4114800"/>
              <a:gd name="connsiteX24" fmla="*/ 4205287 w 4205287"/>
              <a:gd name="connsiteY24" fmla="*/ 3738837 h 4114800"/>
              <a:gd name="connsiteX25" fmla="*/ 4205287 w 4205287"/>
              <a:gd name="connsiteY25" fmla="*/ 3758630 h 4114800"/>
              <a:gd name="connsiteX26" fmla="*/ 4187109 w 4205287"/>
              <a:gd name="connsiteY26" fmla="*/ 3762300 h 4114800"/>
              <a:gd name="connsiteX27" fmla="*/ 4155858 w 4205287"/>
              <a:gd name="connsiteY27" fmla="*/ 3809446 h 4114800"/>
              <a:gd name="connsiteX28" fmla="*/ 4187109 w 4205287"/>
              <a:gd name="connsiteY28" fmla="*/ 3856593 h 4114800"/>
              <a:gd name="connsiteX29" fmla="*/ 4205287 w 4205287"/>
              <a:gd name="connsiteY29" fmla="*/ 3860262 h 4114800"/>
              <a:gd name="connsiteX30" fmla="*/ 4205287 w 4205287"/>
              <a:gd name="connsiteY30" fmla="*/ 4114800 h 4114800"/>
              <a:gd name="connsiteX31" fmla="*/ 0 w 4205287"/>
              <a:gd name="connsiteY31" fmla="*/ 4114800 h 41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05287" h="4114800">
                <a:moveTo>
                  <a:pt x="3976636" y="3528162"/>
                </a:moveTo>
                <a:cubicBezTo>
                  <a:pt x="3948378" y="3528162"/>
                  <a:pt x="3925469" y="3551071"/>
                  <a:pt x="3925469" y="3579329"/>
                </a:cubicBezTo>
                <a:cubicBezTo>
                  <a:pt x="3925469" y="3607590"/>
                  <a:pt x="3948378" y="3630496"/>
                  <a:pt x="3976636" y="3630496"/>
                </a:cubicBezTo>
                <a:cubicBezTo>
                  <a:pt x="4004897" y="3630496"/>
                  <a:pt x="4027803" y="3607590"/>
                  <a:pt x="4027803" y="3579329"/>
                </a:cubicBezTo>
                <a:cubicBezTo>
                  <a:pt x="4027803" y="3551071"/>
                  <a:pt x="4004897" y="3528162"/>
                  <a:pt x="3976636" y="3528162"/>
                </a:cubicBezTo>
                <a:close/>
                <a:moveTo>
                  <a:pt x="0" y="0"/>
                </a:moveTo>
                <a:lnTo>
                  <a:pt x="4205287" y="0"/>
                </a:lnTo>
                <a:lnTo>
                  <a:pt x="4205287" y="3298394"/>
                </a:lnTo>
                <a:lnTo>
                  <a:pt x="4187109" y="3302064"/>
                </a:lnTo>
                <a:cubicBezTo>
                  <a:pt x="4168745" y="3309832"/>
                  <a:pt x="4155858" y="3328017"/>
                  <a:pt x="4155858" y="3349210"/>
                </a:cubicBezTo>
                <a:cubicBezTo>
                  <a:pt x="4155858" y="3370406"/>
                  <a:pt x="4168745" y="3388589"/>
                  <a:pt x="4187109" y="3396357"/>
                </a:cubicBezTo>
                <a:lnTo>
                  <a:pt x="4205287" y="3400026"/>
                </a:lnTo>
                <a:lnTo>
                  <a:pt x="4205287" y="3419779"/>
                </a:lnTo>
                <a:lnTo>
                  <a:pt x="4187181" y="3423435"/>
                </a:lnTo>
                <a:cubicBezTo>
                  <a:pt x="4168817" y="3431203"/>
                  <a:pt x="4155929" y="3449387"/>
                  <a:pt x="4155929" y="3470579"/>
                </a:cubicBezTo>
                <a:lnTo>
                  <a:pt x="4155929" y="3476971"/>
                </a:lnTo>
                <a:cubicBezTo>
                  <a:pt x="4155929" y="3505234"/>
                  <a:pt x="4133022" y="3528138"/>
                  <a:pt x="4104762" y="3528138"/>
                </a:cubicBezTo>
                <a:lnTo>
                  <a:pt x="4098365" y="3528140"/>
                </a:lnTo>
                <a:cubicBezTo>
                  <a:pt x="4070107" y="3528140"/>
                  <a:pt x="4047198" y="3551046"/>
                  <a:pt x="4047198" y="3579307"/>
                </a:cubicBezTo>
                <a:cubicBezTo>
                  <a:pt x="4047198" y="3607568"/>
                  <a:pt x="4070107" y="3630474"/>
                  <a:pt x="4098365" y="3630474"/>
                </a:cubicBezTo>
                <a:lnTo>
                  <a:pt x="4104762" y="3630474"/>
                </a:lnTo>
                <a:cubicBezTo>
                  <a:pt x="4133022" y="3630474"/>
                  <a:pt x="4155929" y="3653380"/>
                  <a:pt x="4155929" y="3681641"/>
                </a:cubicBezTo>
                <a:lnTo>
                  <a:pt x="4155929" y="3688033"/>
                </a:lnTo>
                <a:cubicBezTo>
                  <a:pt x="4155929" y="3709230"/>
                  <a:pt x="4168817" y="3727414"/>
                  <a:pt x="4187181" y="3735182"/>
                </a:cubicBezTo>
                <a:lnTo>
                  <a:pt x="4205287" y="3738837"/>
                </a:lnTo>
                <a:lnTo>
                  <a:pt x="4205287" y="3758630"/>
                </a:lnTo>
                <a:lnTo>
                  <a:pt x="4187109" y="3762300"/>
                </a:lnTo>
                <a:cubicBezTo>
                  <a:pt x="4168745" y="3770068"/>
                  <a:pt x="4155858" y="3788253"/>
                  <a:pt x="4155858" y="3809446"/>
                </a:cubicBezTo>
                <a:cubicBezTo>
                  <a:pt x="4155858" y="3830642"/>
                  <a:pt x="4168745" y="3848826"/>
                  <a:pt x="4187109" y="3856593"/>
                </a:cubicBezTo>
                <a:lnTo>
                  <a:pt x="4205287" y="3860262"/>
                </a:lnTo>
                <a:lnTo>
                  <a:pt x="4205287" y="4114800"/>
                </a:lnTo>
                <a:lnTo>
                  <a:pt x="0" y="4114800"/>
                </a:lnTo>
                <a:close/>
              </a:path>
            </a:pathLst>
          </a:custGeom>
          <a:solidFill>
            <a:schemeClr val="accent3">
              <a:alpha val="80000"/>
            </a:schemeClr>
          </a:solidFill>
        </p:spPr>
        <p:txBody>
          <a:bodyPr wrap="square" lIns="360000" rIns="360000" anchor="ctr">
            <a:noAutofit/>
          </a:bodyPr>
          <a:lstStyle>
            <a:lvl1pPr marL="342900" indent="-342900" rtl="0">
              <a:buClr>
                <a:schemeClr val="bg1"/>
              </a:buClr>
              <a:buSzPct val="100000"/>
              <a:buFont typeface="+mj-lt"/>
              <a:buAutoNum type="arabicPeriod"/>
              <a:defRPr>
                <a:solidFill>
                  <a:schemeClr val="bg1"/>
                </a:solidFill>
              </a:defRPr>
            </a:lvl1pPr>
            <a:lvl2pPr marL="0" indent="0">
              <a:buFont typeface="Arial" panose="020B0604020202020204" pitchFamily="34" charset="0"/>
              <a:buNone/>
              <a:defRPr>
                <a:solidFill>
                  <a:schemeClr val="bg1"/>
                </a:solidFill>
              </a:defRPr>
            </a:lvl2pPr>
            <a:lvl3pPr marL="0" indent="0">
              <a:buFont typeface="Arial" panose="020B0604020202020204" pitchFamily="34" charset="0"/>
              <a:buNone/>
              <a:defRPr>
                <a:solidFill>
                  <a:schemeClr val="bg1"/>
                </a:solidFill>
              </a:defRPr>
            </a:lvl3pPr>
            <a:lvl4pPr marL="0" indent="0">
              <a:buFont typeface="Arial" panose="020B0604020202020204" pitchFamily="34" charset="0"/>
              <a:buNone/>
              <a:defRPr>
                <a:solidFill>
                  <a:schemeClr val="bg1"/>
                </a:solidFill>
              </a:defRPr>
            </a:lvl4pPr>
            <a:lvl5pPr marL="0" indent="0">
              <a:buFont typeface="Arial" panose="020B0604020202020204" pitchFamily="34" charset="0"/>
              <a:buNone/>
              <a:defRPr>
                <a:solidFill>
                  <a:schemeClr val="bg1"/>
                </a:solidFill>
              </a:defRPr>
            </a:lvl5pPr>
          </a:lstStyle>
          <a:p>
            <a:pPr lvl="0"/>
            <a:r>
              <a:rPr lang="de-DE" dirty="0" err="1"/>
              <a:t>Agendapunkt</a:t>
            </a:r>
            <a:r>
              <a:rPr lang="de-DE" dirty="0"/>
              <a:t> hinzufügen</a:t>
            </a:r>
          </a:p>
        </p:txBody>
      </p:sp>
      <p:pic>
        <p:nvPicPr>
          <p:cNvPr id="14" name="Graphic 13">
            <a:extLst>
              <a:ext uri="{FF2B5EF4-FFF2-40B4-BE49-F238E27FC236}">
                <a16:creationId xmlns:a16="http://schemas.microsoft.com/office/drawing/2014/main" id="{43CD198E-4F0F-457A-9B03-F4B60CE74421}"/>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513547" y="0"/>
            <a:ext cx="1264692" cy="411479"/>
          </a:xfrm>
          <a:prstGeom prst="rect">
            <a:avLst/>
          </a:prstGeom>
        </p:spPr>
      </p:pic>
      <p:sp>
        <p:nvSpPr>
          <p:cNvPr id="11" name="Title 10">
            <a:extLst>
              <a:ext uri="{FF2B5EF4-FFF2-40B4-BE49-F238E27FC236}">
                <a16:creationId xmlns:a16="http://schemas.microsoft.com/office/drawing/2014/main" id="{A4245064-89E6-4914-B4F5-1382458929F3}"/>
              </a:ext>
            </a:extLst>
          </p:cNvPr>
          <p:cNvSpPr>
            <a:spLocks noGrp="1"/>
          </p:cNvSpPr>
          <p:nvPr>
            <p:ph type="title" hasCustomPrompt="1"/>
          </p:nvPr>
        </p:nvSpPr>
        <p:spPr>
          <a:xfrm>
            <a:off x="731839" y="224577"/>
            <a:ext cx="3840161" cy="252377"/>
          </a:xfrm>
        </p:spPr>
        <p:txBody>
          <a:bodyPr vert="horz">
            <a:noAutofit/>
          </a:bodyPr>
          <a:lstStyle>
            <a:lvl1pPr rtl="0">
              <a:defRPr cap="all" baseline="0">
                <a:solidFill>
                  <a:schemeClr val="bg1"/>
                </a:solidFill>
              </a:defRPr>
            </a:lvl1pPr>
          </a:lstStyle>
          <a:p>
            <a:r>
              <a:rPr lang="de-DE" noProof="0" dirty="0"/>
              <a:t>Titel hinzufügen</a:t>
            </a:r>
            <a:endParaRPr lang="de-DE" dirty="0"/>
          </a:p>
        </p:txBody>
      </p:sp>
    </p:spTree>
    <p:extLst>
      <p:ext uri="{BB962C8B-B14F-4D97-AF65-F5344CB8AC3E}">
        <p14:creationId xmlns:p14="http://schemas.microsoft.com/office/powerpoint/2010/main" val="877695514"/>
      </p:ext>
    </p:extLst>
  </p:cSld>
  <p:clrMapOvr>
    <a:masterClrMapping/>
  </p:clrMapOvr>
  <p:extLst>
    <p:ext uri="{DCECCB84-F9BA-43D5-87BE-67443E8EF086}">
      <p15:sldGuideLst xmlns:p15="http://schemas.microsoft.com/office/powerpoint/2012/main">
        <p15:guide id="1" pos="2880">
          <p15:clr>
            <a:srgbClr val="F26B43"/>
          </p15:clr>
        </p15:guide>
        <p15:guide id="2" orient="horz" pos="389">
          <p15:clr>
            <a:srgbClr val="F26B43"/>
          </p15:clr>
        </p15:guide>
        <p15:guide id="3" orient="horz" pos="2981">
          <p15:clr>
            <a:srgbClr val="F26B43"/>
          </p15:clr>
        </p15:guide>
        <p15:guide id="4" pos="231">
          <p15:clr>
            <a:srgbClr val="F26B43"/>
          </p15:clr>
        </p15:guide>
        <p15:guide id="5" pos="461" userDrawn="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7AD15DB-6C5F-413D-A194-0EF2FCB322C4}"/>
              </a:ext>
            </a:extLst>
          </p:cNvPr>
          <p:cNvGraphicFramePr>
            <a:graphicFrameLocks noChangeAspect="1"/>
          </p:cNvGraphicFramePr>
          <p:nvPr userDrawn="1">
            <p:custDataLst>
              <p:tags r:id="rId2"/>
            </p:custDataLst>
            <p:extLst>
              <p:ext uri="{D42A27DB-BD31-4B8C-83A1-F6EECF244321}">
                <p14:modId xmlns:p14="http://schemas.microsoft.com/office/powerpoint/2010/main" val="1977283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889"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87AD15DB-6C5F-413D-A194-0EF2FCB322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05720F6F-C2F5-4036-B68C-EDBCA029D244}"/>
              </a:ext>
            </a:extLst>
          </p:cNvPr>
          <p:cNvSpPr/>
          <p:nvPr/>
        </p:nvSpPr>
        <p:spPr>
          <a:xfrm flipV="1">
            <a:off x="4210352" y="3833831"/>
            <a:ext cx="726772" cy="726072"/>
          </a:xfrm>
          <a:prstGeom prst="rect">
            <a:avLst/>
          </a:prstGeom>
          <a:solidFill>
            <a:schemeClr val="accent6"/>
          </a:solidFill>
          <a:ln w="2251" cap="flat">
            <a:noFill/>
            <a:prstDash val="solid"/>
            <a:miter/>
          </a:ln>
        </p:spPr>
        <p:txBody>
          <a:bodyPr rtlCol="0" anchor="ctr"/>
          <a:lstStyle/>
          <a:p>
            <a:pPr rtl="0"/>
            <a:endParaRPr lang="de-DE" dirty="0"/>
          </a:p>
        </p:txBody>
      </p:sp>
      <p:sp>
        <p:nvSpPr>
          <p:cNvPr id="37" name="Picture Placeholder 36">
            <a:extLst>
              <a:ext uri="{FF2B5EF4-FFF2-40B4-BE49-F238E27FC236}">
                <a16:creationId xmlns:a16="http://schemas.microsoft.com/office/drawing/2014/main" id="{821CCB68-AFFA-4FEE-8EE5-0AC93D3A4712}"/>
              </a:ext>
            </a:extLst>
          </p:cNvPr>
          <p:cNvSpPr>
            <a:spLocks noGrp="1"/>
          </p:cNvSpPr>
          <p:nvPr>
            <p:ph type="pic" sz="quarter" idx="18" hasCustomPrompt="1"/>
          </p:nvPr>
        </p:nvSpPr>
        <p:spPr>
          <a:xfrm>
            <a:off x="0" y="0"/>
            <a:ext cx="9144000" cy="5143500"/>
          </a:xfrm>
          <a:custGeom>
            <a:avLst/>
            <a:gdLst>
              <a:gd name="connsiteX0" fmla="*/ 4573738 w 9144000"/>
              <a:gd name="connsiteY0" fmla="*/ 4375818 h 5143500"/>
              <a:gd name="connsiteX1" fmla="*/ 4522571 w 9144000"/>
              <a:gd name="connsiteY1" fmla="*/ 4426985 h 5143500"/>
              <a:gd name="connsiteX2" fmla="*/ 4573738 w 9144000"/>
              <a:gd name="connsiteY2" fmla="*/ 4478152 h 5143500"/>
              <a:gd name="connsiteX3" fmla="*/ 4624907 w 9144000"/>
              <a:gd name="connsiteY3" fmla="*/ 4426985 h 5143500"/>
              <a:gd name="connsiteX4" fmla="*/ 4573738 w 9144000"/>
              <a:gd name="connsiteY4" fmla="*/ 4375818 h 5143500"/>
              <a:gd name="connsiteX5" fmla="*/ 4804126 w 9144000"/>
              <a:gd name="connsiteY5" fmla="*/ 4145701 h 5143500"/>
              <a:gd name="connsiteX6" fmla="*/ 4752959 w 9144000"/>
              <a:gd name="connsiteY6" fmla="*/ 4196868 h 5143500"/>
              <a:gd name="connsiteX7" fmla="*/ 4804126 w 9144000"/>
              <a:gd name="connsiteY7" fmla="*/ 4248035 h 5143500"/>
              <a:gd name="connsiteX8" fmla="*/ 4855293 w 9144000"/>
              <a:gd name="connsiteY8" fmla="*/ 4196868 h 5143500"/>
              <a:gd name="connsiteX9" fmla="*/ 4804126 w 9144000"/>
              <a:gd name="connsiteY9" fmla="*/ 4145701 h 5143500"/>
              <a:gd name="connsiteX10" fmla="*/ 4343349 w 9144000"/>
              <a:gd name="connsiteY10" fmla="*/ 4145701 h 5143500"/>
              <a:gd name="connsiteX11" fmla="*/ 4292182 w 9144000"/>
              <a:gd name="connsiteY11" fmla="*/ 4196868 h 5143500"/>
              <a:gd name="connsiteX12" fmla="*/ 4343349 w 9144000"/>
              <a:gd name="connsiteY12" fmla="*/ 4248035 h 5143500"/>
              <a:gd name="connsiteX13" fmla="*/ 4394516 w 9144000"/>
              <a:gd name="connsiteY13" fmla="*/ 4196868 h 5143500"/>
              <a:gd name="connsiteX14" fmla="*/ 4343349 w 9144000"/>
              <a:gd name="connsiteY14" fmla="*/ 4145701 h 5143500"/>
              <a:gd name="connsiteX15" fmla="*/ 4573809 w 9144000"/>
              <a:gd name="connsiteY15" fmla="*/ 4036953 h 5143500"/>
              <a:gd name="connsiteX16" fmla="*/ 4522642 w 9144000"/>
              <a:gd name="connsiteY16" fmla="*/ 4088118 h 5143500"/>
              <a:gd name="connsiteX17" fmla="*/ 4522642 w 9144000"/>
              <a:gd name="connsiteY17" fmla="*/ 4094510 h 5143500"/>
              <a:gd name="connsiteX18" fmla="*/ 4471475 w 9144000"/>
              <a:gd name="connsiteY18" fmla="*/ 4145677 h 5143500"/>
              <a:gd name="connsiteX19" fmla="*/ 4465078 w 9144000"/>
              <a:gd name="connsiteY19" fmla="*/ 4145679 h 5143500"/>
              <a:gd name="connsiteX20" fmla="*/ 4413911 w 9144000"/>
              <a:gd name="connsiteY20" fmla="*/ 4196846 h 5143500"/>
              <a:gd name="connsiteX21" fmla="*/ 4465078 w 9144000"/>
              <a:gd name="connsiteY21" fmla="*/ 4248013 h 5143500"/>
              <a:gd name="connsiteX22" fmla="*/ 4471475 w 9144000"/>
              <a:gd name="connsiteY22" fmla="*/ 4248013 h 5143500"/>
              <a:gd name="connsiteX23" fmla="*/ 4522642 w 9144000"/>
              <a:gd name="connsiteY23" fmla="*/ 4299180 h 5143500"/>
              <a:gd name="connsiteX24" fmla="*/ 4522642 w 9144000"/>
              <a:gd name="connsiteY24" fmla="*/ 4305572 h 5143500"/>
              <a:gd name="connsiteX25" fmla="*/ 4573809 w 9144000"/>
              <a:gd name="connsiteY25" fmla="*/ 4356741 h 5143500"/>
              <a:gd name="connsiteX26" fmla="*/ 4624978 w 9144000"/>
              <a:gd name="connsiteY26" fmla="*/ 4305572 h 5143500"/>
              <a:gd name="connsiteX27" fmla="*/ 4624978 w 9144000"/>
              <a:gd name="connsiteY27" fmla="*/ 4299180 h 5143500"/>
              <a:gd name="connsiteX28" fmla="*/ 4676147 w 9144000"/>
              <a:gd name="connsiteY28" fmla="*/ 4248013 h 5143500"/>
              <a:gd name="connsiteX29" fmla="*/ 4682537 w 9144000"/>
              <a:gd name="connsiteY29" fmla="*/ 4248013 h 5143500"/>
              <a:gd name="connsiteX30" fmla="*/ 4733706 w 9144000"/>
              <a:gd name="connsiteY30" fmla="*/ 4196846 h 5143500"/>
              <a:gd name="connsiteX31" fmla="*/ 4682537 w 9144000"/>
              <a:gd name="connsiteY31" fmla="*/ 4145679 h 5143500"/>
              <a:gd name="connsiteX32" fmla="*/ 4676147 w 9144000"/>
              <a:gd name="connsiteY32" fmla="*/ 4145679 h 5143500"/>
              <a:gd name="connsiteX33" fmla="*/ 4624978 w 9144000"/>
              <a:gd name="connsiteY33" fmla="*/ 4094510 h 5143500"/>
              <a:gd name="connsiteX34" fmla="*/ 4624978 w 9144000"/>
              <a:gd name="connsiteY34" fmla="*/ 4088118 h 5143500"/>
              <a:gd name="connsiteX35" fmla="*/ 4573809 w 9144000"/>
              <a:gd name="connsiteY35" fmla="*/ 4036953 h 5143500"/>
              <a:gd name="connsiteX36" fmla="*/ 4573738 w 9144000"/>
              <a:gd name="connsiteY36" fmla="*/ 3915582 h 5143500"/>
              <a:gd name="connsiteX37" fmla="*/ 4522571 w 9144000"/>
              <a:gd name="connsiteY37" fmla="*/ 3966749 h 5143500"/>
              <a:gd name="connsiteX38" fmla="*/ 4573738 w 9144000"/>
              <a:gd name="connsiteY38" fmla="*/ 4017916 h 5143500"/>
              <a:gd name="connsiteX39" fmla="*/ 4624907 w 9144000"/>
              <a:gd name="connsiteY39" fmla="*/ 3966749 h 5143500"/>
              <a:gd name="connsiteX40" fmla="*/ 4573738 w 9144000"/>
              <a:gd name="connsiteY40" fmla="*/ 3915582 h 5143500"/>
              <a:gd name="connsiteX41" fmla="*/ 366713 w 9144000"/>
              <a:gd name="connsiteY41" fmla="*/ 0 h 5143500"/>
              <a:gd name="connsiteX42" fmla="*/ 7513547 w 9144000"/>
              <a:gd name="connsiteY42" fmla="*/ 0 h 5143500"/>
              <a:gd name="connsiteX43" fmla="*/ 7513547 w 9144000"/>
              <a:gd name="connsiteY43" fmla="*/ 411479 h 5143500"/>
              <a:gd name="connsiteX44" fmla="*/ 8778239 w 9144000"/>
              <a:gd name="connsiteY44" fmla="*/ 411479 h 5143500"/>
              <a:gd name="connsiteX45" fmla="*/ 8778239 w 9144000"/>
              <a:gd name="connsiteY45" fmla="*/ 0 h 5143500"/>
              <a:gd name="connsiteX46" fmla="*/ 9144000 w 9144000"/>
              <a:gd name="connsiteY46" fmla="*/ 0 h 5143500"/>
              <a:gd name="connsiteX47" fmla="*/ 9144000 w 9144000"/>
              <a:gd name="connsiteY47" fmla="*/ 5143500 h 5143500"/>
              <a:gd name="connsiteX48" fmla="*/ 0 w 9144000"/>
              <a:gd name="connsiteY48" fmla="*/ 5143500 h 5143500"/>
              <a:gd name="connsiteX49" fmla="*/ 0 w 9144000"/>
              <a:gd name="connsiteY49" fmla="*/ 204789 h 5143500"/>
              <a:gd name="connsiteX50" fmla="*/ 366713 w 9144000"/>
              <a:gd name="connsiteY50" fmla="*/ 20478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144000" h="5143500">
                <a:moveTo>
                  <a:pt x="4573738" y="4375818"/>
                </a:moveTo>
                <a:cubicBezTo>
                  <a:pt x="4545480" y="4375818"/>
                  <a:pt x="4522571" y="4398727"/>
                  <a:pt x="4522571" y="4426985"/>
                </a:cubicBezTo>
                <a:cubicBezTo>
                  <a:pt x="4522571" y="4455246"/>
                  <a:pt x="4545480" y="4478152"/>
                  <a:pt x="4573738" y="4478152"/>
                </a:cubicBezTo>
                <a:cubicBezTo>
                  <a:pt x="4602001" y="4478152"/>
                  <a:pt x="4624907" y="4455246"/>
                  <a:pt x="4624907" y="4426985"/>
                </a:cubicBezTo>
                <a:cubicBezTo>
                  <a:pt x="4624907" y="4398727"/>
                  <a:pt x="4602001" y="4375818"/>
                  <a:pt x="4573738" y="4375818"/>
                </a:cubicBezTo>
                <a:close/>
                <a:moveTo>
                  <a:pt x="4804126" y="4145701"/>
                </a:moveTo>
                <a:cubicBezTo>
                  <a:pt x="4775868" y="4145701"/>
                  <a:pt x="4752959" y="4168610"/>
                  <a:pt x="4752959" y="4196868"/>
                </a:cubicBezTo>
                <a:cubicBezTo>
                  <a:pt x="4752959" y="4225129"/>
                  <a:pt x="4775868" y="4248035"/>
                  <a:pt x="4804126" y="4248035"/>
                </a:cubicBezTo>
                <a:cubicBezTo>
                  <a:pt x="4832387" y="4248035"/>
                  <a:pt x="4855293" y="4225129"/>
                  <a:pt x="4855293" y="4196868"/>
                </a:cubicBezTo>
                <a:cubicBezTo>
                  <a:pt x="4855293" y="4168610"/>
                  <a:pt x="4832387" y="4145701"/>
                  <a:pt x="4804126" y="4145701"/>
                </a:cubicBezTo>
                <a:close/>
                <a:moveTo>
                  <a:pt x="4343349" y="4145701"/>
                </a:moveTo>
                <a:cubicBezTo>
                  <a:pt x="4315091" y="4145701"/>
                  <a:pt x="4292182" y="4168610"/>
                  <a:pt x="4292182" y="4196868"/>
                </a:cubicBezTo>
                <a:cubicBezTo>
                  <a:pt x="4292182" y="4225129"/>
                  <a:pt x="4315091" y="4248035"/>
                  <a:pt x="4343349" y="4248035"/>
                </a:cubicBezTo>
                <a:cubicBezTo>
                  <a:pt x="4371610" y="4248035"/>
                  <a:pt x="4394516" y="4225129"/>
                  <a:pt x="4394516" y="4196868"/>
                </a:cubicBezTo>
                <a:cubicBezTo>
                  <a:pt x="4394516" y="4168610"/>
                  <a:pt x="4371610" y="4145701"/>
                  <a:pt x="4343349" y="4145701"/>
                </a:cubicBezTo>
                <a:close/>
                <a:moveTo>
                  <a:pt x="4573809" y="4036953"/>
                </a:moveTo>
                <a:cubicBezTo>
                  <a:pt x="4545553" y="4036953"/>
                  <a:pt x="4522642" y="4059862"/>
                  <a:pt x="4522642" y="4088118"/>
                </a:cubicBezTo>
                <a:lnTo>
                  <a:pt x="4522642" y="4094510"/>
                </a:lnTo>
                <a:cubicBezTo>
                  <a:pt x="4522642" y="4122773"/>
                  <a:pt x="4499735" y="4145677"/>
                  <a:pt x="4471475" y="4145677"/>
                </a:cubicBezTo>
                <a:lnTo>
                  <a:pt x="4465078" y="4145679"/>
                </a:lnTo>
                <a:cubicBezTo>
                  <a:pt x="4436820" y="4145679"/>
                  <a:pt x="4413911" y="4168585"/>
                  <a:pt x="4413911" y="4196846"/>
                </a:cubicBezTo>
                <a:cubicBezTo>
                  <a:pt x="4413911" y="4225107"/>
                  <a:pt x="4436820" y="4248013"/>
                  <a:pt x="4465078" y="4248013"/>
                </a:cubicBezTo>
                <a:lnTo>
                  <a:pt x="4471475" y="4248013"/>
                </a:lnTo>
                <a:cubicBezTo>
                  <a:pt x="4499735" y="4248013"/>
                  <a:pt x="4522642" y="4270919"/>
                  <a:pt x="4522642" y="4299180"/>
                </a:cubicBezTo>
                <a:lnTo>
                  <a:pt x="4522642" y="4305572"/>
                </a:lnTo>
                <a:cubicBezTo>
                  <a:pt x="4522642" y="4333835"/>
                  <a:pt x="4545553" y="4356741"/>
                  <a:pt x="4573809" y="4356741"/>
                </a:cubicBezTo>
                <a:cubicBezTo>
                  <a:pt x="4602072" y="4356741"/>
                  <a:pt x="4624978" y="4333835"/>
                  <a:pt x="4624978" y="4305572"/>
                </a:cubicBezTo>
                <a:lnTo>
                  <a:pt x="4624978" y="4299180"/>
                </a:lnTo>
                <a:cubicBezTo>
                  <a:pt x="4624978" y="4270919"/>
                  <a:pt x="4647886" y="4248013"/>
                  <a:pt x="4676147" y="4248013"/>
                </a:cubicBezTo>
                <a:lnTo>
                  <a:pt x="4682537" y="4248013"/>
                </a:lnTo>
                <a:cubicBezTo>
                  <a:pt x="4710798" y="4248013"/>
                  <a:pt x="4733706" y="4225107"/>
                  <a:pt x="4733706" y="4196846"/>
                </a:cubicBezTo>
                <a:cubicBezTo>
                  <a:pt x="4733706" y="4168585"/>
                  <a:pt x="4710798" y="4145679"/>
                  <a:pt x="4682537" y="4145679"/>
                </a:cubicBezTo>
                <a:lnTo>
                  <a:pt x="4676147" y="4145679"/>
                </a:lnTo>
                <a:cubicBezTo>
                  <a:pt x="4647886" y="4145679"/>
                  <a:pt x="4624978" y="4122773"/>
                  <a:pt x="4624978" y="4094510"/>
                </a:cubicBezTo>
                <a:lnTo>
                  <a:pt x="4624978" y="4088118"/>
                </a:lnTo>
                <a:cubicBezTo>
                  <a:pt x="4624978" y="4059862"/>
                  <a:pt x="4602072" y="4036953"/>
                  <a:pt x="4573809" y="4036953"/>
                </a:cubicBezTo>
                <a:close/>
                <a:moveTo>
                  <a:pt x="4573738" y="3915582"/>
                </a:moveTo>
                <a:cubicBezTo>
                  <a:pt x="4545480" y="3915582"/>
                  <a:pt x="4522571" y="3938491"/>
                  <a:pt x="4522571" y="3966749"/>
                </a:cubicBezTo>
                <a:cubicBezTo>
                  <a:pt x="4522571" y="3995010"/>
                  <a:pt x="4545480" y="4017916"/>
                  <a:pt x="4573738" y="4017916"/>
                </a:cubicBezTo>
                <a:cubicBezTo>
                  <a:pt x="4602001" y="4017916"/>
                  <a:pt x="4624907" y="3995010"/>
                  <a:pt x="4624907" y="3966749"/>
                </a:cubicBezTo>
                <a:cubicBezTo>
                  <a:pt x="4624907" y="3938491"/>
                  <a:pt x="4602001" y="3915582"/>
                  <a:pt x="4573738" y="3915582"/>
                </a:cubicBezTo>
                <a:close/>
                <a:moveTo>
                  <a:pt x="366713" y="0"/>
                </a:moveTo>
                <a:lnTo>
                  <a:pt x="7513547" y="0"/>
                </a:lnTo>
                <a:lnTo>
                  <a:pt x="7513547" y="411479"/>
                </a:lnTo>
                <a:lnTo>
                  <a:pt x="8778239" y="411479"/>
                </a:lnTo>
                <a:lnTo>
                  <a:pt x="8778239" y="0"/>
                </a:lnTo>
                <a:lnTo>
                  <a:pt x="9144000" y="0"/>
                </a:lnTo>
                <a:lnTo>
                  <a:pt x="9144000" y="5143500"/>
                </a:lnTo>
                <a:lnTo>
                  <a:pt x="0" y="5143500"/>
                </a:lnTo>
                <a:lnTo>
                  <a:pt x="0" y="204789"/>
                </a:lnTo>
                <a:lnTo>
                  <a:pt x="366713" y="204789"/>
                </a:lnTo>
                <a:close/>
              </a:path>
            </a:pathLst>
          </a:custGeom>
          <a:solidFill>
            <a:schemeClr val="bg1">
              <a:lumMod val="85000"/>
            </a:schemeClr>
          </a:solidFill>
        </p:spPr>
        <p:txBody>
          <a:bodyPr wrap="square" lIns="0" rIns="4428000" anchor="ctr">
            <a:noAutofit/>
          </a:bodyPr>
          <a:lstStyle>
            <a:lvl1pPr marL="0" indent="0" algn="ctr" rtl="0">
              <a:buNone/>
              <a:defRPr/>
            </a:lvl1pPr>
          </a:lstStyle>
          <a:p>
            <a:r>
              <a:rPr lang="de-DE" dirty="0"/>
              <a:t>Bild hinzufügen</a:t>
            </a:r>
          </a:p>
        </p:txBody>
      </p:sp>
      <p:pic>
        <p:nvPicPr>
          <p:cNvPr id="14" name="Graphic 13">
            <a:extLst>
              <a:ext uri="{FF2B5EF4-FFF2-40B4-BE49-F238E27FC236}">
                <a16:creationId xmlns:a16="http://schemas.microsoft.com/office/drawing/2014/main" id="{43CD198E-4F0F-457A-9B03-F4B60CE7442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13547" y="0"/>
            <a:ext cx="1264692" cy="411479"/>
          </a:xfrm>
          <a:prstGeom prst="rect">
            <a:avLst/>
          </a:prstGeom>
        </p:spPr>
      </p:pic>
      <p:sp>
        <p:nvSpPr>
          <p:cNvPr id="38" name="Title 37">
            <a:extLst>
              <a:ext uri="{FF2B5EF4-FFF2-40B4-BE49-F238E27FC236}">
                <a16:creationId xmlns:a16="http://schemas.microsoft.com/office/drawing/2014/main" id="{E8719F85-7897-424A-9D7D-C4EA7390E2C4}"/>
              </a:ext>
            </a:extLst>
          </p:cNvPr>
          <p:cNvSpPr>
            <a:spLocks noGrp="1"/>
          </p:cNvSpPr>
          <p:nvPr>
            <p:ph type="ctrTitle" hasCustomPrompt="1"/>
          </p:nvPr>
        </p:nvSpPr>
        <p:spPr>
          <a:xfrm flipH="1">
            <a:off x="4572953" y="617538"/>
            <a:ext cx="4205286" cy="4114481"/>
          </a:xfrm>
          <a:custGeom>
            <a:avLst/>
            <a:gdLst>
              <a:gd name="connsiteX0" fmla="*/ 3976635 w 4205286"/>
              <a:gd name="connsiteY0" fmla="*/ 3528163 h 4114481"/>
              <a:gd name="connsiteX1" fmla="*/ 3925468 w 4205286"/>
              <a:gd name="connsiteY1" fmla="*/ 3579330 h 4114481"/>
              <a:gd name="connsiteX2" fmla="*/ 3976635 w 4205286"/>
              <a:gd name="connsiteY2" fmla="*/ 3630497 h 4114481"/>
              <a:gd name="connsiteX3" fmla="*/ 4027802 w 4205286"/>
              <a:gd name="connsiteY3" fmla="*/ 3579330 h 4114481"/>
              <a:gd name="connsiteX4" fmla="*/ 3976635 w 4205286"/>
              <a:gd name="connsiteY4" fmla="*/ 3528163 h 4114481"/>
              <a:gd name="connsiteX5" fmla="*/ 0 w 4205286"/>
              <a:gd name="connsiteY5" fmla="*/ 0 h 4114481"/>
              <a:gd name="connsiteX6" fmla="*/ 4205286 w 4205286"/>
              <a:gd name="connsiteY6" fmla="*/ 0 h 4114481"/>
              <a:gd name="connsiteX7" fmla="*/ 4205286 w 4205286"/>
              <a:gd name="connsiteY7" fmla="*/ 3298395 h 4114481"/>
              <a:gd name="connsiteX8" fmla="*/ 4187108 w 4205286"/>
              <a:gd name="connsiteY8" fmla="*/ 3302065 h 4114481"/>
              <a:gd name="connsiteX9" fmla="*/ 4155857 w 4205286"/>
              <a:gd name="connsiteY9" fmla="*/ 3349211 h 4114481"/>
              <a:gd name="connsiteX10" fmla="*/ 4187108 w 4205286"/>
              <a:gd name="connsiteY10" fmla="*/ 3396357 h 4114481"/>
              <a:gd name="connsiteX11" fmla="*/ 4205286 w 4205286"/>
              <a:gd name="connsiteY11" fmla="*/ 3400027 h 4114481"/>
              <a:gd name="connsiteX12" fmla="*/ 4205286 w 4205286"/>
              <a:gd name="connsiteY12" fmla="*/ 3419780 h 4114481"/>
              <a:gd name="connsiteX13" fmla="*/ 4187180 w 4205286"/>
              <a:gd name="connsiteY13" fmla="*/ 3423436 h 4114481"/>
              <a:gd name="connsiteX14" fmla="*/ 4155928 w 4205286"/>
              <a:gd name="connsiteY14" fmla="*/ 3470580 h 4114481"/>
              <a:gd name="connsiteX15" fmla="*/ 4155928 w 4205286"/>
              <a:gd name="connsiteY15" fmla="*/ 3476972 h 4114481"/>
              <a:gd name="connsiteX16" fmla="*/ 4104761 w 4205286"/>
              <a:gd name="connsiteY16" fmla="*/ 3528139 h 4114481"/>
              <a:gd name="connsiteX17" fmla="*/ 4098364 w 4205286"/>
              <a:gd name="connsiteY17" fmla="*/ 3528141 h 4114481"/>
              <a:gd name="connsiteX18" fmla="*/ 4047197 w 4205286"/>
              <a:gd name="connsiteY18" fmla="*/ 3579308 h 4114481"/>
              <a:gd name="connsiteX19" fmla="*/ 4098364 w 4205286"/>
              <a:gd name="connsiteY19" fmla="*/ 3630475 h 4114481"/>
              <a:gd name="connsiteX20" fmla="*/ 4104761 w 4205286"/>
              <a:gd name="connsiteY20" fmla="*/ 3630475 h 4114481"/>
              <a:gd name="connsiteX21" fmla="*/ 4155928 w 4205286"/>
              <a:gd name="connsiteY21" fmla="*/ 3681642 h 4114481"/>
              <a:gd name="connsiteX22" fmla="*/ 4155928 w 4205286"/>
              <a:gd name="connsiteY22" fmla="*/ 3688034 h 4114481"/>
              <a:gd name="connsiteX23" fmla="*/ 4187180 w 4205286"/>
              <a:gd name="connsiteY23" fmla="*/ 3735183 h 4114481"/>
              <a:gd name="connsiteX24" fmla="*/ 4205286 w 4205286"/>
              <a:gd name="connsiteY24" fmla="*/ 3738838 h 4114481"/>
              <a:gd name="connsiteX25" fmla="*/ 4205286 w 4205286"/>
              <a:gd name="connsiteY25" fmla="*/ 3758631 h 4114481"/>
              <a:gd name="connsiteX26" fmla="*/ 4187108 w 4205286"/>
              <a:gd name="connsiteY26" fmla="*/ 3762301 h 4114481"/>
              <a:gd name="connsiteX27" fmla="*/ 4155857 w 4205286"/>
              <a:gd name="connsiteY27" fmla="*/ 3809447 h 4114481"/>
              <a:gd name="connsiteX28" fmla="*/ 4187108 w 4205286"/>
              <a:gd name="connsiteY28" fmla="*/ 3856594 h 4114481"/>
              <a:gd name="connsiteX29" fmla="*/ 4205286 w 4205286"/>
              <a:gd name="connsiteY29" fmla="*/ 3860263 h 4114481"/>
              <a:gd name="connsiteX30" fmla="*/ 4205286 w 4205286"/>
              <a:gd name="connsiteY30" fmla="*/ 4114481 h 4114481"/>
              <a:gd name="connsiteX31" fmla="*/ 0 w 4205286"/>
              <a:gd name="connsiteY31" fmla="*/ 4114481 h 4114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05286" h="4114481">
                <a:moveTo>
                  <a:pt x="3976635" y="3528163"/>
                </a:moveTo>
                <a:cubicBezTo>
                  <a:pt x="3948377" y="3528163"/>
                  <a:pt x="3925468" y="3551072"/>
                  <a:pt x="3925468" y="3579330"/>
                </a:cubicBezTo>
                <a:cubicBezTo>
                  <a:pt x="3925468" y="3607591"/>
                  <a:pt x="3948377" y="3630497"/>
                  <a:pt x="3976635" y="3630497"/>
                </a:cubicBezTo>
                <a:cubicBezTo>
                  <a:pt x="4004896" y="3630497"/>
                  <a:pt x="4027802" y="3607591"/>
                  <a:pt x="4027802" y="3579330"/>
                </a:cubicBezTo>
                <a:cubicBezTo>
                  <a:pt x="4027802" y="3551072"/>
                  <a:pt x="4004896" y="3528163"/>
                  <a:pt x="3976635" y="3528163"/>
                </a:cubicBezTo>
                <a:close/>
                <a:moveTo>
                  <a:pt x="0" y="0"/>
                </a:moveTo>
                <a:lnTo>
                  <a:pt x="4205286" y="0"/>
                </a:lnTo>
                <a:lnTo>
                  <a:pt x="4205286" y="3298395"/>
                </a:lnTo>
                <a:lnTo>
                  <a:pt x="4187108" y="3302065"/>
                </a:lnTo>
                <a:cubicBezTo>
                  <a:pt x="4168744" y="3309833"/>
                  <a:pt x="4155857" y="3328018"/>
                  <a:pt x="4155857" y="3349211"/>
                </a:cubicBezTo>
                <a:cubicBezTo>
                  <a:pt x="4155857" y="3370407"/>
                  <a:pt x="4168744" y="3388590"/>
                  <a:pt x="4187108" y="3396357"/>
                </a:cubicBezTo>
                <a:lnTo>
                  <a:pt x="4205286" y="3400027"/>
                </a:lnTo>
                <a:lnTo>
                  <a:pt x="4205286" y="3419780"/>
                </a:lnTo>
                <a:lnTo>
                  <a:pt x="4187180" y="3423436"/>
                </a:lnTo>
                <a:cubicBezTo>
                  <a:pt x="4168816" y="3431204"/>
                  <a:pt x="4155928" y="3449388"/>
                  <a:pt x="4155928" y="3470580"/>
                </a:cubicBezTo>
                <a:lnTo>
                  <a:pt x="4155928" y="3476972"/>
                </a:lnTo>
                <a:cubicBezTo>
                  <a:pt x="4155928" y="3505235"/>
                  <a:pt x="4133021" y="3528139"/>
                  <a:pt x="4104761" y="3528139"/>
                </a:cubicBezTo>
                <a:lnTo>
                  <a:pt x="4098364" y="3528141"/>
                </a:lnTo>
                <a:cubicBezTo>
                  <a:pt x="4070106" y="3528141"/>
                  <a:pt x="4047197" y="3551047"/>
                  <a:pt x="4047197" y="3579308"/>
                </a:cubicBezTo>
                <a:cubicBezTo>
                  <a:pt x="4047197" y="3607569"/>
                  <a:pt x="4070106" y="3630475"/>
                  <a:pt x="4098364" y="3630475"/>
                </a:cubicBezTo>
                <a:lnTo>
                  <a:pt x="4104761" y="3630475"/>
                </a:lnTo>
                <a:cubicBezTo>
                  <a:pt x="4133021" y="3630475"/>
                  <a:pt x="4155928" y="3653381"/>
                  <a:pt x="4155928" y="3681642"/>
                </a:cubicBezTo>
                <a:lnTo>
                  <a:pt x="4155928" y="3688034"/>
                </a:lnTo>
                <a:cubicBezTo>
                  <a:pt x="4155928" y="3709231"/>
                  <a:pt x="4168816" y="3727415"/>
                  <a:pt x="4187180" y="3735183"/>
                </a:cubicBezTo>
                <a:lnTo>
                  <a:pt x="4205286" y="3738838"/>
                </a:lnTo>
                <a:lnTo>
                  <a:pt x="4205286" y="3758631"/>
                </a:lnTo>
                <a:lnTo>
                  <a:pt x="4187108" y="3762301"/>
                </a:lnTo>
                <a:cubicBezTo>
                  <a:pt x="4168744" y="3770069"/>
                  <a:pt x="4155857" y="3788254"/>
                  <a:pt x="4155857" y="3809447"/>
                </a:cubicBezTo>
                <a:cubicBezTo>
                  <a:pt x="4155857" y="3830643"/>
                  <a:pt x="4168744" y="3848827"/>
                  <a:pt x="4187108" y="3856594"/>
                </a:cubicBezTo>
                <a:lnTo>
                  <a:pt x="4205286" y="3860263"/>
                </a:lnTo>
                <a:lnTo>
                  <a:pt x="4205286" y="4114481"/>
                </a:lnTo>
                <a:lnTo>
                  <a:pt x="0" y="4114481"/>
                </a:lnTo>
                <a:close/>
              </a:path>
            </a:pathLst>
          </a:custGeom>
          <a:solidFill>
            <a:schemeClr val="accent3">
              <a:alpha val="80000"/>
            </a:schemeClr>
          </a:solidFill>
        </p:spPr>
        <p:txBody>
          <a:bodyPr vert="horz" wrap="square" lIns="540000" tIns="576000" rIns="360000" bIns="0" anchor="t" anchorCtr="0">
            <a:noAutofit/>
          </a:bodyPr>
          <a:lstStyle>
            <a:lvl1pPr algn="l" rtl="0">
              <a:lnSpc>
                <a:spcPct val="100000"/>
              </a:lnSpc>
              <a:defRPr sz="1600" b="1" cap="none" baseline="0">
                <a:solidFill>
                  <a:schemeClr val="bg1"/>
                </a:solidFill>
              </a:defRPr>
            </a:lvl1pPr>
          </a:lstStyle>
          <a:p>
            <a:r>
              <a:rPr lang="de-DE" noProof="0" dirty="0"/>
              <a:t>Titel hinzufügen</a:t>
            </a:r>
            <a:endParaRPr lang="de-DE" dirty="0"/>
          </a:p>
        </p:txBody>
      </p:sp>
      <p:sp>
        <p:nvSpPr>
          <p:cNvPr id="10" name="Text Placeholder 2">
            <a:extLst>
              <a:ext uri="{FF2B5EF4-FFF2-40B4-BE49-F238E27FC236}">
                <a16:creationId xmlns:a16="http://schemas.microsoft.com/office/drawing/2014/main" id="{DC28ECCA-CABD-45E9-9323-2432F047A43B}"/>
              </a:ext>
            </a:extLst>
          </p:cNvPr>
          <p:cNvSpPr>
            <a:spLocks noGrp="1"/>
          </p:cNvSpPr>
          <p:nvPr>
            <p:ph type="body" sz="quarter" idx="20" hasCustomPrompt="1"/>
          </p:nvPr>
        </p:nvSpPr>
        <p:spPr>
          <a:xfrm>
            <a:off x="5119688" y="1646238"/>
            <a:ext cx="3294062" cy="2673350"/>
          </a:xfrm>
        </p:spPr>
        <p:txBody>
          <a:bodyPr>
            <a:noAutofit/>
          </a:bodyPr>
          <a:lstStyle>
            <a:lvl1pPr marL="0" indent="0" rtl="0">
              <a:buNone/>
              <a:defRPr>
                <a:solidFill>
                  <a:schemeClr val="bg1"/>
                </a:solidFill>
              </a:defRPr>
            </a:lvl1pPr>
            <a:lvl2pPr marL="0" indent="0">
              <a:buFont typeface="Arial" panose="020B0604020202020204" pitchFamily="34" charset="0"/>
              <a:buNone/>
              <a:defRPr/>
            </a:lvl2pPr>
            <a:lvl3pPr marL="0" indent="0">
              <a:buFont typeface="Arial" panose="020B0604020202020204" pitchFamily="34" charset="0"/>
              <a:buNone/>
              <a:defRPr/>
            </a:lvl3pPr>
            <a:lvl4pPr marL="0" indent="0">
              <a:buFont typeface="Arial" panose="020B0604020202020204" pitchFamily="34" charset="0"/>
              <a:buNone/>
              <a:defRPr/>
            </a:lvl4pPr>
            <a:lvl5pPr marL="0" indent="0">
              <a:buFont typeface="Arial" panose="020B0604020202020204" pitchFamily="34" charset="0"/>
              <a:buNone/>
              <a:defRPr/>
            </a:lvl5pPr>
          </a:lstStyle>
          <a:p>
            <a:pPr lvl="0"/>
            <a:r>
              <a:rPr lang="de-DE" dirty="0"/>
              <a:t>Text hinzufügen</a:t>
            </a:r>
          </a:p>
        </p:txBody>
      </p:sp>
    </p:spTree>
    <p:extLst>
      <p:ext uri="{BB962C8B-B14F-4D97-AF65-F5344CB8AC3E}">
        <p14:creationId xmlns:p14="http://schemas.microsoft.com/office/powerpoint/2010/main" val="1155350192"/>
      </p:ext>
    </p:extLst>
  </p:cSld>
  <p:clrMapOvr>
    <a:masterClrMapping/>
  </p:clrMapOvr>
  <p:extLst>
    <p:ext uri="{DCECCB84-F9BA-43D5-87BE-67443E8EF086}">
      <p15:sldGuideLst xmlns:p15="http://schemas.microsoft.com/office/powerpoint/2012/main">
        <p15:guide id="1" pos="2880">
          <p15:clr>
            <a:srgbClr val="F26B43"/>
          </p15:clr>
        </p15:guide>
        <p15:guide id="2" orient="horz" pos="389">
          <p15:clr>
            <a:srgbClr val="F26B43"/>
          </p15:clr>
        </p15:guide>
        <p15:guide id="3" orient="horz" pos="2981">
          <p15:clr>
            <a:srgbClr val="F26B43"/>
          </p15:clr>
        </p15:guide>
        <p15:guide id="4" pos="231">
          <p15:clr>
            <a:srgbClr val="F26B43"/>
          </p15:clr>
        </p15:guide>
        <p15:guide id="5" pos="461" userDrawn="1">
          <p15:clr>
            <a:srgbClr val="F26B43"/>
          </p15:clr>
        </p15:guide>
        <p15:guide id="6" pos="5529"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mit Text  / hellbrau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B55E966-152B-4155-BC8B-37B3DB47884B}"/>
              </a:ext>
            </a:extLst>
          </p:cNvPr>
          <p:cNvGraphicFramePr>
            <a:graphicFrameLocks noChangeAspect="1"/>
          </p:cNvGraphicFramePr>
          <p:nvPr userDrawn="1">
            <p:custDataLst>
              <p:tags r:id="rId2"/>
            </p:custDataLst>
            <p:extLst>
              <p:ext uri="{D42A27DB-BD31-4B8C-83A1-F6EECF244321}">
                <p14:modId xmlns:p14="http://schemas.microsoft.com/office/powerpoint/2010/main" val="407495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1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605D5426-1391-4BA2-884D-0F59552042BD}"/>
              </a:ext>
            </a:extLst>
          </p:cNvPr>
          <p:cNvSpPr/>
          <p:nvPr userDrawn="1"/>
        </p:nvSpPr>
        <p:spPr>
          <a:xfrm>
            <a:off x="0" y="617537"/>
            <a:ext cx="9144000" cy="45259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rtl="0"/>
            <a:endParaRPr lang="de-DE" sz="1400" dirty="0">
              <a:solidFill>
                <a:schemeClr val="bg1"/>
              </a:solidFill>
            </a:endParaRPr>
          </a:p>
        </p:txBody>
      </p:sp>
      <p:sp>
        <p:nvSpPr>
          <p:cNvPr id="2" name="Title 1">
            <a:extLst>
              <a:ext uri="{FF2B5EF4-FFF2-40B4-BE49-F238E27FC236}">
                <a16:creationId xmlns:a16="http://schemas.microsoft.com/office/drawing/2014/main" id="{FA37A3E9-4AC7-40AB-9175-27E504FE91D6}"/>
              </a:ext>
            </a:extLst>
          </p:cNvPr>
          <p:cNvSpPr>
            <a:spLocks noGrp="1"/>
          </p:cNvSpPr>
          <p:nvPr>
            <p:ph type="title" hasCustomPrompt="1"/>
          </p:nvPr>
        </p:nvSpPr>
        <p:spPr/>
        <p:txBody>
          <a:bodyPr vert="horz"/>
          <a:lstStyle>
            <a:lvl1pPr rtl="0">
              <a:defRPr/>
            </a:lvl1pPr>
          </a:lstStyle>
          <a:p>
            <a:r>
              <a:rPr lang="de-DE" noProof="0" dirty="0"/>
              <a:t>Titel </a:t>
            </a:r>
            <a:br>
              <a:rPr lang="de-DE" noProof="0" dirty="0"/>
            </a:br>
            <a:r>
              <a:rPr lang="de-DE" noProof="0" dirty="0"/>
              <a:t>hinzufügen</a:t>
            </a:r>
            <a:endParaRPr lang="de-DE" dirty="0"/>
          </a:p>
        </p:txBody>
      </p:sp>
      <p:sp>
        <p:nvSpPr>
          <p:cNvPr id="6" name="Slide Number Placeholder 5">
            <a:extLst>
              <a:ext uri="{FF2B5EF4-FFF2-40B4-BE49-F238E27FC236}">
                <a16:creationId xmlns:a16="http://schemas.microsoft.com/office/drawing/2014/main" id="{944DA456-96F7-4E88-B5F0-01FD9C0599E9}"/>
              </a:ext>
            </a:extLst>
          </p:cNvPr>
          <p:cNvSpPr>
            <a:spLocks noGrp="1"/>
          </p:cNvSpPr>
          <p:nvPr>
            <p:ph type="sldNum" sz="quarter" idx="12"/>
          </p:nvPr>
        </p:nvSpPr>
        <p:spPr/>
        <p:txBody>
          <a:bodyPr/>
          <a:lstStyle>
            <a:lvl1pPr rtl="0">
              <a:defRPr/>
            </a:lvl1pPr>
          </a:lstStyle>
          <a:p>
            <a:fld id="{61A237A4-5F56-495D-ADE9-563CDE6DCB6B}" type="slidenum">
              <a:rPr lang="de-DE" smtClean="0"/>
              <a:pPr/>
              <a:t>‹Nr.›</a:t>
            </a:fld>
            <a:endParaRPr lang="de-DE" dirty="0"/>
          </a:p>
        </p:txBody>
      </p:sp>
      <p:sp>
        <p:nvSpPr>
          <p:cNvPr id="10" name="Text Placeholder 9">
            <a:extLst>
              <a:ext uri="{FF2B5EF4-FFF2-40B4-BE49-F238E27FC236}">
                <a16:creationId xmlns:a16="http://schemas.microsoft.com/office/drawing/2014/main" id="{56B40821-1E4B-4B1A-A4EC-67ED383914AF}"/>
              </a:ext>
            </a:extLst>
          </p:cNvPr>
          <p:cNvSpPr>
            <a:spLocks noGrp="1"/>
          </p:cNvSpPr>
          <p:nvPr>
            <p:ph type="body" sz="quarter" idx="13" hasCustomPrompt="1"/>
          </p:nvPr>
        </p:nvSpPr>
        <p:spPr>
          <a:xfrm>
            <a:off x="366712" y="1028700"/>
            <a:ext cx="8410576" cy="3910013"/>
          </a:xfrm>
        </p:spPr>
        <p:txBody>
          <a:bodyPr/>
          <a:lstStyle>
            <a:lvl1pPr rtl="0">
              <a:defRPr/>
            </a:lvl1pPr>
            <a:lvl2pPr rtl="0">
              <a:defRPr/>
            </a:lvl2pPr>
            <a:lvl3pPr rtl="0">
              <a:defRPr/>
            </a:lvl3pPr>
          </a:lstStyle>
          <a:p>
            <a:pPr lvl="0"/>
            <a:r>
              <a:rPr lang="de-DE" noProof="0" dirty="0"/>
              <a:t>Erste Ebene</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0" name="Freeform: Shape 19">
            <a:extLst>
              <a:ext uri="{FF2B5EF4-FFF2-40B4-BE49-F238E27FC236}">
                <a16:creationId xmlns:a16="http://schemas.microsoft.com/office/drawing/2014/main" id="{10E6F3C5-AC13-4A00-94F9-5D5B5A4EC27C}"/>
              </a:ext>
            </a:extLst>
          </p:cNvPr>
          <p:cNvSpPr/>
          <p:nvPr/>
        </p:nvSpPr>
        <p:spPr>
          <a:xfrm flipV="1">
            <a:off x="8213729" y="337025"/>
            <a:ext cx="563111" cy="562570"/>
          </a:xfrm>
          <a:custGeom>
            <a:avLst/>
            <a:gdLst>
              <a:gd name="connsiteX0" fmla="*/ 281556 w 563111"/>
              <a:gd name="connsiteY0" fmla="*/ 102334 h 562570"/>
              <a:gd name="connsiteX1" fmla="*/ 332725 w 563111"/>
              <a:gd name="connsiteY1" fmla="*/ 51167 h 562570"/>
              <a:gd name="connsiteX2" fmla="*/ 281556 w 563111"/>
              <a:gd name="connsiteY2" fmla="*/ 0 h 562570"/>
              <a:gd name="connsiteX3" fmla="*/ 230389 w 563111"/>
              <a:gd name="connsiteY3" fmla="*/ 51167 h 562570"/>
              <a:gd name="connsiteX4" fmla="*/ 281556 w 563111"/>
              <a:gd name="connsiteY4" fmla="*/ 102334 h 562570"/>
              <a:gd name="connsiteX5" fmla="*/ 511944 w 563111"/>
              <a:gd name="connsiteY5" fmla="*/ 332451 h 562570"/>
              <a:gd name="connsiteX6" fmla="*/ 563111 w 563111"/>
              <a:gd name="connsiteY6" fmla="*/ 281284 h 562570"/>
              <a:gd name="connsiteX7" fmla="*/ 511944 w 563111"/>
              <a:gd name="connsiteY7" fmla="*/ 230117 h 562570"/>
              <a:gd name="connsiteX8" fmla="*/ 460777 w 563111"/>
              <a:gd name="connsiteY8" fmla="*/ 281284 h 562570"/>
              <a:gd name="connsiteX9" fmla="*/ 511944 w 563111"/>
              <a:gd name="connsiteY9" fmla="*/ 332451 h 562570"/>
              <a:gd name="connsiteX10" fmla="*/ 51167 w 563111"/>
              <a:gd name="connsiteY10" fmla="*/ 332451 h 562570"/>
              <a:gd name="connsiteX11" fmla="*/ 102334 w 563111"/>
              <a:gd name="connsiteY11" fmla="*/ 281284 h 562570"/>
              <a:gd name="connsiteX12" fmla="*/ 51167 w 563111"/>
              <a:gd name="connsiteY12" fmla="*/ 230117 h 562570"/>
              <a:gd name="connsiteX13" fmla="*/ 0 w 563111"/>
              <a:gd name="connsiteY13" fmla="*/ 281284 h 562570"/>
              <a:gd name="connsiteX14" fmla="*/ 51167 w 563111"/>
              <a:gd name="connsiteY14" fmla="*/ 332451 h 562570"/>
              <a:gd name="connsiteX15" fmla="*/ 281627 w 563111"/>
              <a:gd name="connsiteY15" fmla="*/ 441199 h 562570"/>
              <a:gd name="connsiteX16" fmla="*/ 332796 w 563111"/>
              <a:gd name="connsiteY16" fmla="*/ 390034 h 562570"/>
              <a:gd name="connsiteX17" fmla="*/ 332796 w 563111"/>
              <a:gd name="connsiteY17" fmla="*/ 383642 h 562570"/>
              <a:gd name="connsiteX18" fmla="*/ 383965 w 563111"/>
              <a:gd name="connsiteY18" fmla="*/ 332473 h 562570"/>
              <a:gd name="connsiteX19" fmla="*/ 390355 w 563111"/>
              <a:gd name="connsiteY19" fmla="*/ 332473 h 562570"/>
              <a:gd name="connsiteX20" fmla="*/ 441524 w 563111"/>
              <a:gd name="connsiteY20" fmla="*/ 281306 h 562570"/>
              <a:gd name="connsiteX21" fmla="*/ 390355 w 563111"/>
              <a:gd name="connsiteY21" fmla="*/ 230139 h 562570"/>
              <a:gd name="connsiteX22" fmla="*/ 383965 w 563111"/>
              <a:gd name="connsiteY22" fmla="*/ 230139 h 562570"/>
              <a:gd name="connsiteX23" fmla="*/ 332796 w 563111"/>
              <a:gd name="connsiteY23" fmla="*/ 178972 h 562570"/>
              <a:gd name="connsiteX24" fmla="*/ 332796 w 563111"/>
              <a:gd name="connsiteY24" fmla="*/ 172580 h 562570"/>
              <a:gd name="connsiteX25" fmla="*/ 281627 w 563111"/>
              <a:gd name="connsiteY25" fmla="*/ 121411 h 562570"/>
              <a:gd name="connsiteX26" fmla="*/ 230460 w 563111"/>
              <a:gd name="connsiteY26" fmla="*/ 172580 h 562570"/>
              <a:gd name="connsiteX27" fmla="*/ 230460 w 563111"/>
              <a:gd name="connsiteY27" fmla="*/ 178972 h 562570"/>
              <a:gd name="connsiteX28" fmla="*/ 179293 w 563111"/>
              <a:gd name="connsiteY28" fmla="*/ 230139 h 562570"/>
              <a:gd name="connsiteX29" fmla="*/ 172896 w 563111"/>
              <a:gd name="connsiteY29" fmla="*/ 230139 h 562570"/>
              <a:gd name="connsiteX30" fmla="*/ 121729 w 563111"/>
              <a:gd name="connsiteY30" fmla="*/ 281306 h 562570"/>
              <a:gd name="connsiteX31" fmla="*/ 172896 w 563111"/>
              <a:gd name="connsiteY31" fmla="*/ 332473 h 562570"/>
              <a:gd name="connsiteX32" fmla="*/ 179293 w 563111"/>
              <a:gd name="connsiteY32" fmla="*/ 332475 h 562570"/>
              <a:gd name="connsiteX33" fmla="*/ 230460 w 563111"/>
              <a:gd name="connsiteY33" fmla="*/ 383642 h 562570"/>
              <a:gd name="connsiteX34" fmla="*/ 230460 w 563111"/>
              <a:gd name="connsiteY34" fmla="*/ 390034 h 562570"/>
              <a:gd name="connsiteX35" fmla="*/ 281627 w 563111"/>
              <a:gd name="connsiteY35" fmla="*/ 441199 h 562570"/>
              <a:gd name="connsiteX36" fmla="*/ 281556 w 563111"/>
              <a:gd name="connsiteY36" fmla="*/ 562570 h 562570"/>
              <a:gd name="connsiteX37" fmla="*/ 332725 w 563111"/>
              <a:gd name="connsiteY37" fmla="*/ 511403 h 562570"/>
              <a:gd name="connsiteX38" fmla="*/ 281556 w 563111"/>
              <a:gd name="connsiteY38" fmla="*/ 460236 h 562570"/>
              <a:gd name="connsiteX39" fmla="*/ 230389 w 563111"/>
              <a:gd name="connsiteY39" fmla="*/ 511403 h 562570"/>
              <a:gd name="connsiteX40" fmla="*/ 281556 w 563111"/>
              <a:gd name="connsiteY40" fmla="*/ 562570 h 5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63111" h="562570">
                <a:moveTo>
                  <a:pt x="281556" y="102334"/>
                </a:moveTo>
                <a:cubicBezTo>
                  <a:pt x="309819" y="102334"/>
                  <a:pt x="332725" y="79425"/>
                  <a:pt x="332725" y="51167"/>
                </a:cubicBezTo>
                <a:cubicBezTo>
                  <a:pt x="332725" y="22906"/>
                  <a:pt x="309819" y="0"/>
                  <a:pt x="281556" y="0"/>
                </a:cubicBezTo>
                <a:cubicBezTo>
                  <a:pt x="253298" y="0"/>
                  <a:pt x="230389" y="22906"/>
                  <a:pt x="230389" y="51167"/>
                </a:cubicBezTo>
                <a:cubicBezTo>
                  <a:pt x="230389" y="79425"/>
                  <a:pt x="253298" y="102334"/>
                  <a:pt x="281556" y="102334"/>
                </a:cubicBezTo>
                <a:close/>
                <a:moveTo>
                  <a:pt x="511944" y="332451"/>
                </a:moveTo>
                <a:cubicBezTo>
                  <a:pt x="540205" y="332451"/>
                  <a:pt x="563111" y="309542"/>
                  <a:pt x="563111" y="281284"/>
                </a:cubicBezTo>
                <a:cubicBezTo>
                  <a:pt x="563111" y="253023"/>
                  <a:pt x="540205" y="230117"/>
                  <a:pt x="511944" y="230117"/>
                </a:cubicBezTo>
                <a:cubicBezTo>
                  <a:pt x="483686" y="230117"/>
                  <a:pt x="460777" y="253023"/>
                  <a:pt x="460777" y="281284"/>
                </a:cubicBezTo>
                <a:cubicBezTo>
                  <a:pt x="460777" y="309542"/>
                  <a:pt x="483686" y="332451"/>
                  <a:pt x="511944" y="332451"/>
                </a:cubicBezTo>
                <a:close/>
                <a:moveTo>
                  <a:pt x="51167" y="332451"/>
                </a:moveTo>
                <a:cubicBezTo>
                  <a:pt x="79428" y="332451"/>
                  <a:pt x="102334" y="309542"/>
                  <a:pt x="102334" y="281284"/>
                </a:cubicBezTo>
                <a:cubicBezTo>
                  <a:pt x="102334" y="253023"/>
                  <a:pt x="79428" y="230117"/>
                  <a:pt x="51167" y="230117"/>
                </a:cubicBezTo>
                <a:cubicBezTo>
                  <a:pt x="22909" y="230117"/>
                  <a:pt x="0" y="253023"/>
                  <a:pt x="0" y="281284"/>
                </a:cubicBezTo>
                <a:cubicBezTo>
                  <a:pt x="0" y="309542"/>
                  <a:pt x="22909" y="332451"/>
                  <a:pt x="51167" y="332451"/>
                </a:cubicBezTo>
                <a:close/>
                <a:moveTo>
                  <a:pt x="281627" y="441199"/>
                </a:moveTo>
                <a:cubicBezTo>
                  <a:pt x="309890" y="441199"/>
                  <a:pt x="332796" y="418290"/>
                  <a:pt x="332796" y="390034"/>
                </a:cubicBezTo>
                <a:lnTo>
                  <a:pt x="332796" y="383642"/>
                </a:lnTo>
                <a:cubicBezTo>
                  <a:pt x="332796" y="355379"/>
                  <a:pt x="355704" y="332473"/>
                  <a:pt x="383965" y="332473"/>
                </a:cubicBezTo>
                <a:lnTo>
                  <a:pt x="390355" y="332473"/>
                </a:lnTo>
                <a:cubicBezTo>
                  <a:pt x="418616" y="332473"/>
                  <a:pt x="441524" y="309567"/>
                  <a:pt x="441524" y="281306"/>
                </a:cubicBezTo>
                <a:cubicBezTo>
                  <a:pt x="441524" y="253045"/>
                  <a:pt x="418616" y="230139"/>
                  <a:pt x="390355" y="230139"/>
                </a:cubicBezTo>
                <a:lnTo>
                  <a:pt x="383965" y="230139"/>
                </a:lnTo>
                <a:cubicBezTo>
                  <a:pt x="355704" y="230139"/>
                  <a:pt x="332796" y="207233"/>
                  <a:pt x="332796" y="178972"/>
                </a:cubicBezTo>
                <a:lnTo>
                  <a:pt x="332796" y="172580"/>
                </a:lnTo>
                <a:cubicBezTo>
                  <a:pt x="332796" y="144317"/>
                  <a:pt x="309890" y="121411"/>
                  <a:pt x="281627" y="121411"/>
                </a:cubicBezTo>
                <a:cubicBezTo>
                  <a:pt x="253371" y="121411"/>
                  <a:pt x="230460" y="144317"/>
                  <a:pt x="230460" y="172580"/>
                </a:cubicBezTo>
                <a:lnTo>
                  <a:pt x="230460" y="178972"/>
                </a:lnTo>
                <a:cubicBezTo>
                  <a:pt x="230460" y="207233"/>
                  <a:pt x="207553" y="230139"/>
                  <a:pt x="179293" y="230139"/>
                </a:cubicBezTo>
                <a:lnTo>
                  <a:pt x="172896" y="230139"/>
                </a:lnTo>
                <a:cubicBezTo>
                  <a:pt x="144638" y="230139"/>
                  <a:pt x="121729" y="253045"/>
                  <a:pt x="121729" y="281306"/>
                </a:cubicBezTo>
                <a:cubicBezTo>
                  <a:pt x="121729" y="309567"/>
                  <a:pt x="144638" y="332473"/>
                  <a:pt x="172896" y="332473"/>
                </a:cubicBezTo>
                <a:lnTo>
                  <a:pt x="179293" y="332475"/>
                </a:lnTo>
                <a:cubicBezTo>
                  <a:pt x="207553" y="332475"/>
                  <a:pt x="230460" y="355379"/>
                  <a:pt x="230460" y="383642"/>
                </a:cubicBezTo>
                <a:lnTo>
                  <a:pt x="230460" y="390034"/>
                </a:lnTo>
                <a:cubicBezTo>
                  <a:pt x="230460" y="418290"/>
                  <a:pt x="253371" y="441199"/>
                  <a:pt x="281627" y="441199"/>
                </a:cubicBezTo>
                <a:close/>
                <a:moveTo>
                  <a:pt x="281556" y="562570"/>
                </a:moveTo>
                <a:cubicBezTo>
                  <a:pt x="309819" y="562570"/>
                  <a:pt x="332725" y="539661"/>
                  <a:pt x="332725" y="511403"/>
                </a:cubicBezTo>
                <a:cubicBezTo>
                  <a:pt x="332725" y="483142"/>
                  <a:pt x="309819" y="460236"/>
                  <a:pt x="281556" y="460236"/>
                </a:cubicBezTo>
                <a:cubicBezTo>
                  <a:pt x="253298" y="460236"/>
                  <a:pt x="230389" y="483142"/>
                  <a:pt x="230389" y="511403"/>
                </a:cubicBezTo>
                <a:cubicBezTo>
                  <a:pt x="230389" y="539661"/>
                  <a:pt x="253298" y="562570"/>
                  <a:pt x="281556" y="562570"/>
                </a:cubicBezTo>
                <a:close/>
              </a:path>
            </a:pathLst>
          </a:custGeom>
          <a:solidFill>
            <a:schemeClr val="accent6"/>
          </a:solidFill>
          <a:ln w="2251" cap="flat">
            <a:noFill/>
            <a:prstDash val="solid"/>
            <a:miter/>
          </a:ln>
        </p:spPr>
        <p:txBody>
          <a:bodyPr rtlCol="0" anchor="ctr"/>
          <a:lstStyle/>
          <a:p>
            <a:pPr rtl="0"/>
            <a:endParaRPr lang="de-DE" dirty="0"/>
          </a:p>
        </p:txBody>
      </p:sp>
      <p:sp>
        <p:nvSpPr>
          <p:cNvPr id="21" name="Text Placeholder 9">
            <a:extLst>
              <a:ext uri="{FF2B5EF4-FFF2-40B4-BE49-F238E27FC236}">
                <a16:creationId xmlns:a16="http://schemas.microsoft.com/office/drawing/2014/main" id="{B4B60243-B22D-4DE0-8846-1532F903A022}"/>
              </a:ext>
            </a:extLst>
          </p:cNvPr>
          <p:cNvSpPr>
            <a:spLocks noGrp="1"/>
          </p:cNvSpPr>
          <p:nvPr>
            <p:ph type="body" sz="quarter" idx="14" hasCustomPrompt="1"/>
          </p:nvPr>
        </p:nvSpPr>
        <p:spPr>
          <a:xfrm>
            <a:off x="1098550" y="4938713"/>
            <a:ext cx="7678290" cy="204787"/>
          </a:xfrm>
        </p:spPr>
        <p:txBody>
          <a:bodyPr anchor="ctr">
            <a:noAutofit/>
          </a:bodyPr>
          <a:lstStyle>
            <a:lvl1pPr marL="0" indent="0" rtl="0">
              <a:spcAft>
                <a:spcPts val="0"/>
              </a:spcAft>
              <a:buNone/>
              <a:defRPr sz="600"/>
            </a:lvl1pPr>
            <a:lvl2pPr marL="0" indent="0">
              <a:spcAft>
                <a:spcPts val="0"/>
              </a:spcAft>
              <a:buFont typeface="Arial" panose="020B0604020202020204" pitchFamily="34" charset="0"/>
              <a:buNone/>
              <a:defRPr sz="600"/>
            </a:lvl2pPr>
            <a:lvl3pPr marL="0" indent="0">
              <a:spcAft>
                <a:spcPts val="0"/>
              </a:spcAft>
              <a:buFont typeface="Arial" panose="020B0604020202020204" pitchFamily="34" charset="0"/>
              <a:buNone/>
              <a:defRPr sz="600"/>
            </a:lvl3pPr>
          </a:lstStyle>
          <a:p>
            <a:pPr lvl="0"/>
            <a:r>
              <a:rPr lang="de-DE" noProof="0" dirty="0"/>
              <a:t>Quelle: </a:t>
            </a:r>
          </a:p>
        </p:txBody>
      </p:sp>
      <p:grpSp>
        <p:nvGrpSpPr>
          <p:cNvPr id="22" name="Group 21">
            <a:extLst>
              <a:ext uri="{FF2B5EF4-FFF2-40B4-BE49-F238E27FC236}">
                <a16:creationId xmlns:a16="http://schemas.microsoft.com/office/drawing/2014/main" id="{C99EA256-1661-4070-91CC-990068250B72}"/>
              </a:ext>
            </a:extLst>
          </p:cNvPr>
          <p:cNvGrpSpPr/>
          <p:nvPr userDrawn="1"/>
        </p:nvGrpSpPr>
        <p:grpSpPr>
          <a:xfrm>
            <a:off x="9507912" y="0"/>
            <a:ext cx="1826837" cy="5143500"/>
            <a:chOff x="12455525" y="0"/>
            <a:chExt cx="2432456" cy="6858000"/>
          </a:xfrm>
        </p:grpSpPr>
        <p:sp>
          <p:nvSpPr>
            <p:cNvPr id="23" name="Rectangle 22">
              <a:extLst>
                <a:ext uri="{FF2B5EF4-FFF2-40B4-BE49-F238E27FC236}">
                  <a16:creationId xmlns:a16="http://schemas.microsoft.com/office/drawing/2014/main" id="{955FD829-49A7-4466-B7CD-785662627E0E}"/>
                </a:ext>
              </a:extLst>
            </p:cNvPr>
            <p:cNvSpPr/>
            <p:nvPr/>
          </p:nvSpPr>
          <p:spPr>
            <a:xfrm>
              <a:off x="12455525" y="0"/>
              <a:ext cx="2432456"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de-DE" sz="1100" b="1" noProof="0" dirty="0">
                  <a:solidFill>
                    <a:schemeClr val="tx1"/>
                  </a:solidFill>
                  <a:latin typeface="+mn-lt"/>
                </a:rPr>
                <a:t>Hinweis zum </a:t>
              </a:r>
              <a:br>
                <a:rPr lang="de-DE" sz="1100" b="1" noProof="0" dirty="0">
                  <a:solidFill>
                    <a:schemeClr val="tx1"/>
                  </a:solidFill>
                  <a:latin typeface="+mn-lt"/>
                </a:rPr>
              </a:br>
              <a:r>
                <a:rPr lang="de-DE" sz="1100" b="1" noProof="0" dirty="0">
                  <a:solidFill>
                    <a:schemeClr val="tx1"/>
                  </a:solidFill>
                  <a:latin typeface="+mn-lt"/>
                </a:rPr>
                <a:t>schnellen Formatieren von Texten: </a:t>
              </a: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br>
                <a:rPr lang="de-DE" sz="1100" b="1" noProof="0" dirty="0">
                  <a:solidFill>
                    <a:schemeClr val="tx1"/>
                  </a:solidFill>
                  <a:latin typeface="+mn-lt"/>
                </a:rPr>
              </a:br>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r>
                <a:rPr lang="de-DE" sz="1100" b="1" noProof="0" dirty="0">
                  <a:solidFill>
                    <a:schemeClr val="tx1"/>
                  </a:solidFill>
                  <a:latin typeface="+mn-lt"/>
                </a:rPr>
                <a:t>Absatz-Zeichen</a:t>
              </a:r>
              <a:r>
                <a:rPr lang="de-DE" sz="1100" b="0" noProof="0" dirty="0">
                  <a:solidFill>
                    <a:schemeClr val="tx1"/>
                  </a:solidFill>
                  <a:latin typeface="+mn-lt"/>
                </a:rPr>
                <a:t> nutzen, um zwischen diesen vorprogrammierten Textebenen zu wechseln: </a:t>
              </a:r>
            </a:p>
          </p:txBody>
        </p:sp>
        <p:sp>
          <p:nvSpPr>
            <p:cNvPr id="24" name="Textplatzhalter 45">
              <a:extLst>
                <a:ext uri="{FF2B5EF4-FFF2-40B4-BE49-F238E27FC236}">
                  <a16:creationId xmlns:a16="http://schemas.microsoft.com/office/drawing/2014/main" id="{F8D3BEA1-9AF3-4DC6-90C2-9D5495CB3B58}"/>
                </a:ext>
              </a:extLst>
            </p:cNvPr>
            <p:cNvSpPr txBox="1">
              <a:spLocks/>
            </p:cNvSpPr>
            <p:nvPr/>
          </p:nvSpPr>
          <p:spPr>
            <a:xfrm>
              <a:off x="12623256" y="3829050"/>
              <a:ext cx="2097628" cy="1377179"/>
            </a:xfrm>
            <a:prstGeom prst="rect">
              <a:avLst/>
            </a:prstGeom>
          </p:spPr>
          <p:txBody>
            <a:bodyPr vert="horz" wrap="none"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25425" lvl="0" indent="-225425"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Char char="•"/>
              </a:pPr>
              <a:r>
                <a:rPr lang="de-DE" sz="1400" kern="1200" noProof="0" dirty="0">
                  <a:solidFill>
                    <a:schemeClr val="tx1"/>
                  </a:solidFill>
                  <a:latin typeface="+mn-lt"/>
                  <a:ea typeface="+mn-ea"/>
                  <a:cs typeface="+mn-cs"/>
                </a:rPr>
                <a:t>Erste Ebene</a:t>
              </a:r>
            </a:p>
            <a:p>
              <a:pPr marL="457200" lvl="1" indent="-225425" algn="l" defTabSz="914400" rtl="0" eaLnBrk="1" latinLnBrk="0" hangingPunct="1">
                <a:lnSpc>
                  <a:spcPct val="100000"/>
                </a:lnSpc>
                <a:spcBef>
                  <a:spcPts val="0"/>
                </a:spcBef>
                <a:spcAft>
                  <a:spcPts val="800"/>
                </a:spcAft>
                <a:buClr>
                  <a:schemeClr val="accent6"/>
                </a:buClr>
                <a:buSzPct val="110000"/>
                <a:buFont typeface="+mj-lt"/>
                <a:buAutoNum type="arabicPeriod"/>
              </a:pPr>
              <a:r>
                <a:rPr lang="de-DE" sz="1400" kern="1200" noProof="0" dirty="0">
                  <a:solidFill>
                    <a:schemeClr val="tx1"/>
                  </a:solidFill>
                  <a:latin typeface="+mn-lt"/>
                  <a:ea typeface="+mn-ea"/>
                  <a:cs typeface="+mn-cs"/>
                </a:rPr>
                <a:t>Zweite Ebene</a:t>
              </a:r>
            </a:p>
            <a:p>
              <a:pPr marL="685800" lvl="2" indent="-225425" algn="l" defTabSz="914400" rtl="0" eaLnBrk="1" latinLnBrk="0" hangingPunct="1">
                <a:lnSpc>
                  <a:spcPct val="100000"/>
                </a:lnSpc>
                <a:spcBef>
                  <a:spcPts val="0"/>
                </a:spcBef>
                <a:spcAft>
                  <a:spcPts val="800"/>
                </a:spcAft>
                <a:buClr>
                  <a:schemeClr val="accent6"/>
                </a:buClr>
                <a:buSzPct val="110000"/>
                <a:buFont typeface="+mj-lt"/>
                <a:buAutoNum type="alphaLcPeriod"/>
              </a:pPr>
              <a:r>
                <a:rPr lang="de-DE" sz="1400" b="0" kern="1200" noProof="0" dirty="0">
                  <a:solidFill>
                    <a:schemeClr val="tx1"/>
                  </a:solidFill>
                  <a:latin typeface="+mn-lt"/>
                  <a:ea typeface="+mn-ea"/>
                  <a:cs typeface="+mn-cs"/>
                </a:rPr>
                <a:t>Dritte Ebene</a:t>
              </a:r>
            </a:p>
            <a:p>
              <a:pPr marL="0" lvl="3"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kern="1200" noProof="0" dirty="0">
                  <a:solidFill>
                    <a:schemeClr val="tx1"/>
                  </a:solidFill>
                  <a:latin typeface="+mn-lt"/>
                  <a:ea typeface="+mn-ea"/>
                  <a:cs typeface="+mn-cs"/>
                </a:rPr>
                <a:t>Vierte Ebene</a:t>
              </a:r>
            </a:p>
            <a:p>
              <a:pPr marL="0" lvl="4"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b="1" kern="1200" noProof="0" dirty="0">
                  <a:solidFill>
                    <a:schemeClr val="tx1"/>
                  </a:solidFill>
                  <a:latin typeface="+mn-lt"/>
                  <a:ea typeface="+mn-ea"/>
                  <a:cs typeface="+mn-cs"/>
                </a:rPr>
                <a:t>Fünfte Ebene</a:t>
              </a:r>
            </a:p>
          </p:txBody>
        </p:sp>
        <p:grpSp>
          <p:nvGrpSpPr>
            <p:cNvPr id="25" name="Group 24">
              <a:extLst>
                <a:ext uri="{FF2B5EF4-FFF2-40B4-BE49-F238E27FC236}">
                  <a16:creationId xmlns:a16="http://schemas.microsoft.com/office/drawing/2014/main" id="{0AB4A3F0-DDD8-4E25-AE18-DC4AC4FE3F89}"/>
                </a:ext>
              </a:extLst>
            </p:cNvPr>
            <p:cNvGrpSpPr/>
            <p:nvPr/>
          </p:nvGrpSpPr>
          <p:grpSpPr>
            <a:xfrm>
              <a:off x="12656430" y="1089171"/>
              <a:ext cx="1584137" cy="987131"/>
              <a:chOff x="3838574" y="-1487553"/>
              <a:chExt cx="1819275" cy="1133654"/>
            </a:xfrm>
          </p:grpSpPr>
          <p:pic>
            <p:nvPicPr>
              <p:cNvPr id="32" name="Picture 31">
                <a:extLst>
                  <a:ext uri="{FF2B5EF4-FFF2-40B4-BE49-F238E27FC236}">
                    <a16:creationId xmlns:a16="http://schemas.microsoft.com/office/drawing/2014/main" id="{3FFF88D6-8B78-4889-B242-FB57353E602F}"/>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838574" y="-1487553"/>
                <a:ext cx="1819275" cy="1133654"/>
              </a:xfrm>
              <a:prstGeom prst="rect">
                <a:avLst/>
              </a:prstGeom>
              <a:ln>
                <a:solidFill>
                  <a:schemeClr val="tx1"/>
                </a:solidFill>
              </a:ln>
            </p:spPr>
          </p:pic>
          <p:pic>
            <p:nvPicPr>
              <p:cNvPr id="33" name="Picture 32">
                <a:extLst>
                  <a:ext uri="{FF2B5EF4-FFF2-40B4-BE49-F238E27FC236}">
                    <a16:creationId xmlns:a16="http://schemas.microsoft.com/office/drawing/2014/main" id="{07D6F9A7-E5FC-416A-B840-14851B4B89F7}"/>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838574" y="-1197759"/>
                <a:ext cx="1758949" cy="843860"/>
              </a:xfrm>
              <a:prstGeom prst="rect">
                <a:avLst/>
              </a:prstGeom>
            </p:spPr>
          </p:pic>
          <p:sp>
            <p:nvSpPr>
              <p:cNvPr id="34" name="Rectangle 33">
                <a:extLst>
                  <a:ext uri="{FF2B5EF4-FFF2-40B4-BE49-F238E27FC236}">
                    <a16:creationId xmlns:a16="http://schemas.microsoft.com/office/drawing/2014/main" id="{EDC6700E-6BFE-4674-8221-8B9AE47AFAA9}"/>
                  </a:ext>
                </a:extLst>
              </p:cNvPr>
              <p:cNvSpPr/>
              <p:nvPr userDrawn="1"/>
            </p:nvSpPr>
            <p:spPr>
              <a:xfrm>
                <a:off x="5517931" y="-1487553"/>
                <a:ext cx="139917" cy="983056"/>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grpSp>
        <p:sp>
          <p:nvSpPr>
            <p:cNvPr id="26" name="Oval 25">
              <a:extLst>
                <a:ext uri="{FF2B5EF4-FFF2-40B4-BE49-F238E27FC236}">
                  <a16:creationId xmlns:a16="http://schemas.microsoft.com/office/drawing/2014/main" id="{450FFE31-1436-41A1-9DB3-73094C508AB9}"/>
                </a:ext>
              </a:extLst>
            </p:cNvPr>
            <p:cNvSpPr/>
            <p:nvPr/>
          </p:nvSpPr>
          <p:spPr>
            <a:xfrm>
              <a:off x="13370810" y="1243451"/>
              <a:ext cx="407914" cy="407914"/>
            </a:xfrm>
            <a:prstGeom prst="ellipse">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sp>
          <p:nvSpPr>
            <p:cNvPr id="27" name="Arc 26">
              <a:extLst>
                <a:ext uri="{FF2B5EF4-FFF2-40B4-BE49-F238E27FC236}">
                  <a16:creationId xmlns:a16="http://schemas.microsoft.com/office/drawing/2014/main" id="{580AEBEF-1023-44BC-9C69-8EF1154FE6CA}"/>
                </a:ext>
              </a:extLst>
            </p:cNvPr>
            <p:cNvSpPr/>
            <p:nvPr/>
          </p:nvSpPr>
          <p:spPr>
            <a:xfrm rot="15649404">
              <a:off x="12562252" y="1598191"/>
              <a:ext cx="2019300" cy="1666765"/>
            </a:xfrm>
            <a:prstGeom prst="arc">
              <a:avLst>
                <a:gd name="adj1" fmla="val 16676483"/>
                <a:gd name="adj2" fmla="val 0"/>
              </a:avLst>
            </a:prstGeom>
            <a:ln w="28575">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100" noProof="0" dirty="0">
                <a:latin typeface="+mn-lt"/>
              </a:endParaRPr>
            </a:p>
          </p:txBody>
        </p:sp>
        <p:sp>
          <p:nvSpPr>
            <p:cNvPr id="28" name="TextBox 27">
              <a:extLst>
                <a:ext uri="{FF2B5EF4-FFF2-40B4-BE49-F238E27FC236}">
                  <a16:creationId xmlns:a16="http://schemas.microsoft.com/office/drawing/2014/main" id="{041BBD57-3BBA-4303-9D3F-FDF74B3FFDBA}"/>
                </a:ext>
              </a:extLst>
            </p:cNvPr>
            <p:cNvSpPr txBox="1"/>
            <p:nvPr/>
          </p:nvSpPr>
          <p:spPr>
            <a:xfrm>
              <a:off x="12666422"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Start</a:t>
              </a:r>
            </a:p>
          </p:txBody>
        </p:sp>
        <p:sp>
          <p:nvSpPr>
            <p:cNvPr id="29" name="TextBox 28">
              <a:extLst>
                <a:ext uri="{FF2B5EF4-FFF2-40B4-BE49-F238E27FC236}">
                  <a16:creationId xmlns:a16="http://schemas.microsoft.com/office/drawing/2014/main" id="{0FE78662-4468-4293-883E-8D2DB2B2CAD1}"/>
                </a:ext>
              </a:extLst>
            </p:cNvPr>
            <p:cNvSpPr txBox="1"/>
            <p:nvPr/>
          </p:nvSpPr>
          <p:spPr>
            <a:xfrm>
              <a:off x="13167679"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infügen</a:t>
              </a:r>
            </a:p>
          </p:txBody>
        </p:sp>
        <p:sp>
          <p:nvSpPr>
            <p:cNvPr id="30" name="TextBox 29">
              <a:extLst>
                <a:ext uri="{FF2B5EF4-FFF2-40B4-BE49-F238E27FC236}">
                  <a16:creationId xmlns:a16="http://schemas.microsoft.com/office/drawing/2014/main" id="{A5143CD5-206B-488B-AEB1-FE362DA2EAAC}"/>
                </a:ext>
              </a:extLst>
            </p:cNvPr>
            <p:cNvSpPr txBox="1"/>
            <p:nvPr/>
          </p:nvSpPr>
          <p:spPr>
            <a:xfrm>
              <a:off x="13706533"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ntwurf</a:t>
              </a:r>
            </a:p>
          </p:txBody>
        </p:sp>
        <p:sp>
          <p:nvSpPr>
            <p:cNvPr id="31" name="TextBox 30">
              <a:extLst>
                <a:ext uri="{FF2B5EF4-FFF2-40B4-BE49-F238E27FC236}">
                  <a16:creationId xmlns:a16="http://schemas.microsoft.com/office/drawing/2014/main" id="{0CC9D091-F4CF-49C7-B7A2-15C1269B896C}"/>
                </a:ext>
              </a:extLst>
            </p:cNvPr>
            <p:cNvSpPr txBox="1"/>
            <p:nvPr/>
          </p:nvSpPr>
          <p:spPr>
            <a:xfrm>
              <a:off x="13662625" y="1929226"/>
              <a:ext cx="546374" cy="136662"/>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Absatz</a:t>
              </a:r>
            </a:p>
          </p:txBody>
        </p:sp>
      </p:grpSp>
    </p:spTree>
    <p:extLst>
      <p:ext uri="{BB962C8B-B14F-4D97-AF65-F5344CB8AC3E}">
        <p14:creationId xmlns:p14="http://schemas.microsoft.com/office/powerpoint/2010/main" val="3367161340"/>
      </p:ext>
    </p:extLst>
  </p:cSld>
  <p:clrMapOvr>
    <a:masterClrMapping/>
  </p:clrMapOvr>
  <p:extLst>
    <p:ext uri="{DCECCB84-F9BA-43D5-87BE-67443E8EF086}">
      <p15:sldGuideLst xmlns:p15="http://schemas.microsoft.com/office/powerpoint/2012/main">
        <p15:guide id="1" pos="231" userDrawn="1">
          <p15:clr>
            <a:srgbClr val="F26B43"/>
          </p15:clr>
        </p15:guide>
        <p15:guide id="2" orient="horz" pos="648" userDrawn="1">
          <p15:clr>
            <a:srgbClr val="F26B43"/>
          </p15:clr>
        </p15:guide>
        <p15:guide id="3" orient="horz" pos="3111" userDrawn="1">
          <p15:clr>
            <a:srgbClr val="F26B43"/>
          </p15:clr>
        </p15:guide>
        <p15:guide id="4" pos="5529" userDrawn="1">
          <p15:clr>
            <a:srgbClr val="F26B43"/>
          </p15:clr>
        </p15:guide>
        <p15:guide id="5" orient="horz" pos="389"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mit Text  / hellblau">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B55E966-152B-4155-BC8B-37B3DB47884B}"/>
              </a:ext>
            </a:extLst>
          </p:cNvPr>
          <p:cNvGraphicFramePr>
            <a:graphicFrameLocks noChangeAspect="1"/>
          </p:cNvGraphicFramePr>
          <p:nvPr userDrawn="1">
            <p:custDataLst>
              <p:tags r:id="rId2"/>
            </p:custDataLst>
            <p:extLst>
              <p:ext uri="{D42A27DB-BD31-4B8C-83A1-F6EECF244321}">
                <p14:modId xmlns:p14="http://schemas.microsoft.com/office/powerpoint/2010/main" val="303667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55"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B55E966-152B-4155-BC8B-37B3DB4788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605D5426-1391-4BA2-884D-0F59552042BD}"/>
              </a:ext>
            </a:extLst>
          </p:cNvPr>
          <p:cNvSpPr/>
          <p:nvPr userDrawn="1"/>
        </p:nvSpPr>
        <p:spPr>
          <a:xfrm>
            <a:off x="0" y="617537"/>
            <a:ext cx="9144000" cy="45259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rtl="0"/>
            <a:endParaRPr lang="de-DE" sz="1400" dirty="0">
              <a:solidFill>
                <a:schemeClr val="bg1"/>
              </a:solidFill>
            </a:endParaRPr>
          </a:p>
        </p:txBody>
      </p:sp>
      <p:sp>
        <p:nvSpPr>
          <p:cNvPr id="2" name="Title 1">
            <a:extLst>
              <a:ext uri="{FF2B5EF4-FFF2-40B4-BE49-F238E27FC236}">
                <a16:creationId xmlns:a16="http://schemas.microsoft.com/office/drawing/2014/main" id="{FA37A3E9-4AC7-40AB-9175-27E504FE91D6}"/>
              </a:ext>
            </a:extLst>
          </p:cNvPr>
          <p:cNvSpPr>
            <a:spLocks noGrp="1"/>
          </p:cNvSpPr>
          <p:nvPr>
            <p:ph type="title" hasCustomPrompt="1"/>
          </p:nvPr>
        </p:nvSpPr>
        <p:spPr/>
        <p:txBody>
          <a:bodyPr vert="horz"/>
          <a:lstStyle>
            <a:lvl1pPr rtl="0">
              <a:defRPr/>
            </a:lvl1pPr>
          </a:lstStyle>
          <a:p>
            <a:r>
              <a:rPr lang="de-DE" noProof="0" dirty="0"/>
              <a:t>Titel </a:t>
            </a:r>
            <a:br>
              <a:rPr lang="de-DE" noProof="0" dirty="0"/>
            </a:br>
            <a:r>
              <a:rPr lang="de-DE" noProof="0" dirty="0"/>
              <a:t>hinzufügen</a:t>
            </a:r>
            <a:endParaRPr lang="de-DE" dirty="0"/>
          </a:p>
        </p:txBody>
      </p:sp>
      <p:sp>
        <p:nvSpPr>
          <p:cNvPr id="6" name="Slide Number Placeholder 5">
            <a:extLst>
              <a:ext uri="{FF2B5EF4-FFF2-40B4-BE49-F238E27FC236}">
                <a16:creationId xmlns:a16="http://schemas.microsoft.com/office/drawing/2014/main" id="{944DA456-96F7-4E88-B5F0-01FD9C0599E9}"/>
              </a:ext>
            </a:extLst>
          </p:cNvPr>
          <p:cNvSpPr>
            <a:spLocks noGrp="1"/>
          </p:cNvSpPr>
          <p:nvPr>
            <p:ph type="sldNum" sz="quarter" idx="12"/>
          </p:nvPr>
        </p:nvSpPr>
        <p:spPr/>
        <p:txBody>
          <a:bodyPr/>
          <a:lstStyle>
            <a:lvl1pPr rtl="0">
              <a:defRPr/>
            </a:lvl1pPr>
          </a:lstStyle>
          <a:p>
            <a:fld id="{61A237A4-5F56-495D-ADE9-563CDE6DCB6B}" type="slidenum">
              <a:rPr lang="de-DE" smtClean="0"/>
              <a:pPr/>
              <a:t>‹Nr.›</a:t>
            </a:fld>
            <a:endParaRPr lang="de-DE" dirty="0"/>
          </a:p>
        </p:txBody>
      </p:sp>
      <p:sp>
        <p:nvSpPr>
          <p:cNvPr id="10" name="Text Placeholder 9">
            <a:extLst>
              <a:ext uri="{FF2B5EF4-FFF2-40B4-BE49-F238E27FC236}">
                <a16:creationId xmlns:a16="http://schemas.microsoft.com/office/drawing/2014/main" id="{56B40821-1E4B-4B1A-A4EC-67ED383914AF}"/>
              </a:ext>
            </a:extLst>
          </p:cNvPr>
          <p:cNvSpPr>
            <a:spLocks noGrp="1"/>
          </p:cNvSpPr>
          <p:nvPr>
            <p:ph type="body" sz="quarter" idx="13" hasCustomPrompt="1"/>
          </p:nvPr>
        </p:nvSpPr>
        <p:spPr>
          <a:xfrm>
            <a:off x="366712" y="1028700"/>
            <a:ext cx="8410576" cy="3910013"/>
          </a:xfrm>
        </p:spPr>
        <p:txBody>
          <a:bodyPr/>
          <a:lstStyle>
            <a:lvl1pPr rtl="0">
              <a:defRPr/>
            </a:lvl1pPr>
            <a:lvl2pPr rtl="0">
              <a:defRPr/>
            </a:lvl2pPr>
            <a:lvl3pPr rtl="0">
              <a:defRPr/>
            </a:lvl3pPr>
          </a:lstStyle>
          <a:p>
            <a:pPr lvl="0"/>
            <a:r>
              <a:rPr lang="de-DE" noProof="0" dirty="0"/>
              <a:t>Erste Ebene</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0" name="Freeform: Shape 19">
            <a:extLst>
              <a:ext uri="{FF2B5EF4-FFF2-40B4-BE49-F238E27FC236}">
                <a16:creationId xmlns:a16="http://schemas.microsoft.com/office/drawing/2014/main" id="{10E6F3C5-AC13-4A00-94F9-5D5B5A4EC27C}"/>
              </a:ext>
            </a:extLst>
          </p:cNvPr>
          <p:cNvSpPr/>
          <p:nvPr/>
        </p:nvSpPr>
        <p:spPr>
          <a:xfrm flipV="1">
            <a:off x="8213729" y="337025"/>
            <a:ext cx="563111" cy="562570"/>
          </a:xfrm>
          <a:custGeom>
            <a:avLst/>
            <a:gdLst>
              <a:gd name="connsiteX0" fmla="*/ 281556 w 563111"/>
              <a:gd name="connsiteY0" fmla="*/ 102334 h 562570"/>
              <a:gd name="connsiteX1" fmla="*/ 332725 w 563111"/>
              <a:gd name="connsiteY1" fmla="*/ 51167 h 562570"/>
              <a:gd name="connsiteX2" fmla="*/ 281556 w 563111"/>
              <a:gd name="connsiteY2" fmla="*/ 0 h 562570"/>
              <a:gd name="connsiteX3" fmla="*/ 230389 w 563111"/>
              <a:gd name="connsiteY3" fmla="*/ 51167 h 562570"/>
              <a:gd name="connsiteX4" fmla="*/ 281556 w 563111"/>
              <a:gd name="connsiteY4" fmla="*/ 102334 h 562570"/>
              <a:gd name="connsiteX5" fmla="*/ 511944 w 563111"/>
              <a:gd name="connsiteY5" fmla="*/ 332451 h 562570"/>
              <a:gd name="connsiteX6" fmla="*/ 563111 w 563111"/>
              <a:gd name="connsiteY6" fmla="*/ 281284 h 562570"/>
              <a:gd name="connsiteX7" fmla="*/ 511944 w 563111"/>
              <a:gd name="connsiteY7" fmla="*/ 230117 h 562570"/>
              <a:gd name="connsiteX8" fmla="*/ 460777 w 563111"/>
              <a:gd name="connsiteY8" fmla="*/ 281284 h 562570"/>
              <a:gd name="connsiteX9" fmla="*/ 511944 w 563111"/>
              <a:gd name="connsiteY9" fmla="*/ 332451 h 562570"/>
              <a:gd name="connsiteX10" fmla="*/ 51167 w 563111"/>
              <a:gd name="connsiteY10" fmla="*/ 332451 h 562570"/>
              <a:gd name="connsiteX11" fmla="*/ 102334 w 563111"/>
              <a:gd name="connsiteY11" fmla="*/ 281284 h 562570"/>
              <a:gd name="connsiteX12" fmla="*/ 51167 w 563111"/>
              <a:gd name="connsiteY12" fmla="*/ 230117 h 562570"/>
              <a:gd name="connsiteX13" fmla="*/ 0 w 563111"/>
              <a:gd name="connsiteY13" fmla="*/ 281284 h 562570"/>
              <a:gd name="connsiteX14" fmla="*/ 51167 w 563111"/>
              <a:gd name="connsiteY14" fmla="*/ 332451 h 562570"/>
              <a:gd name="connsiteX15" fmla="*/ 281627 w 563111"/>
              <a:gd name="connsiteY15" fmla="*/ 441199 h 562570"/>
              <a:gd name="connsiteX16" fmla="*/ 332796 w 563111"/>
              <a:gd name="connsiteY16" fmla="*/ 390034 h 562570"/>
              <a:gd name="connsiteX17" fmla="*/ 332796 w 563111"/>
              <a:gd name="connsiteY17" fmla="*/ 383642 h 562570"/>
              <a:gd name="connsiteX18" fmla="*/ 383965 w 563111"/>
              <a:gd name="connsiteY18" fmla="*/ 332473 h 562570"/>
              <a:gd name="connsiteX19" fmla="*/ 390355 w 563111"/>
              <a:gd name="connsiteY19" fmla="*/ 332473 h 562570"/>
              <a:gd name="connsiteX20" fmla="*/ 441524 w 563111"/>
              <a:gd name="connsiteY20" fmla="*/ 281306 h 562570"/>
              <a:gd name="connsiteX21" fmla="*/ 390355 w 563111"/>
              <a:gd name="connsiteY21" fmla="*/ 230139 h 562570"/>
              <a:gd name="connsiteX22" fmla="*/ 383965 w 563111"/>
              <a:gd name="connsiteY22" fmla="*/ 230139 h 562570"/>
              <a:gd name="connsiteX23" fmla="*/ 332796 w 563111"/>
              <a:gd name="connsiteY23" fmla="*/ 178972 h 562570"/>
              <a:gd name="connsiteX24" fmla="*/ 332796 w 563111"/>
              <a:gd name="connsiteY24" fmla="*/ 172580 h 562570"/>
              <a:gd name="connsiteX25" fmla="*/ 281627 w 563111"/>
              <a:gd name="connsiteY25" fmla="*/ 121411 h 562570"/>
              <a:gd name="connsiteX26" fmla="*/ 230460 w 563111"/>
              <a:gd name="connsiteY26" fmla="*/ 172580 h 562570"/>
              <a:gd name="connsiteX27" fmla="*/ 230460 w 563111"/>
              <a:gd name="connsiteY27" fmla="*/ 178972 h 562570"/>
              <a:gd name="connsiteX28" fmla="*/ 179293 w 563111"/>
              <a:gd name="connsiteY28" fmla="*/ 230139 h 562570"/>
              <a:gd name="connsiteX29" fmla="*/ 172896 w 563111"/>
              <a:gd name="connsiteY29" fmla="*/ 230139 h 562570"/>
              <a:gd name="connsiteX30" fmla="*/ 121729 w 563111"/>
              <a:gd name="connsiteY30" fmla="*/ 281306 h 562570"/>
              <a:gd name="connsiteX31" fmla="*/ 172896 w 563111"/>
              <a:gd name="connsiteY31" fmla="*/ 332473 h 562570"/>
              <a:gd name="connsiteX32" fmla="*/ 179293 w 563111"/>
              <a:gd name="connsiteY32" fmla="*/ 332475 h 562570"/>
              <a:gd name="connsiteX33" fmla="*/ 230460 w 563111"/>
              <a:gd name="connsiteY33" fmla="*/ 383642 h 562570"/>
              <a:gd name="connsiteX34" fmla="*/ 230460 w 563111"/>
              <a:gd name="connsiteY34" fmla="*/ 390034 h 562570"/>
              <a:gd name="connsiteX35" fmla="*/ 281627 w 563111"/>
              <a:gd name="connsiteY35" fmla="*/ 441199 h 562570"/>
              <a:gd name="connsiteX36" fmla="*/ 281556 w 563111"/>
              <a:gd name="connsiteY36" fmla="*/ 562570 h 562570"/>
              <a:gd name="connsiteX37" fmla="*/ 332725 w 563111"/>
              <a:gd name="connsiteY37" fmla="*/ 511403 h 562570"/>
              <a:gd name="connsiteX38" fmla="*/ 281556 w 563111"/>
              <a:gd name="connsiteY38" fmla="*/ 460236 h 562570"/>
              <a:gd name="connsiteX39" fmla="*/ 230389 w 563111"/>
              <a:gd name="connsiteY39" fmla="*/ 511403 h 562570"/>
              <a:gd name="connsiteX40" fmla="*/ 281556 w 563111"/>
              <a:gd name="connsiteY40" fmla="*/ 562570 h 5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63111" h="562570">
                <a:moveTo>
                  <a:pt x="281556" y="102334"/>
                </a:moveTo>
                <a:cubicBezTo>
                  <a:pt x="309819" y="102334"/>
                  <a:pt x="332725" y="79425"/>
                  <a:pt x="332725" y="51167"/>
                </a:cubicBezTo>
                <a:cubicBezTo>
                  <a:pt x="332725" y="22906"/>
                  <a:pt x="309819" y="0"/>
                  <a:pt x="281556" y="0"/>
                </a:cubicBezTo>
                <a:cubicBezTo>
                  <a:pt x="253298" y="0"/>
                  <a:pt x="230389" y="22906"/>
                  <a:pt x="230389" y="51167"/>
                </a:cubicBezTo>
                <a:cubicBezTo>
                  <a:pt x="230389" y="79425"/>
                  <a:pt x="253298" y="102334"/>
                  <a:pt x="281556" y="102334"/>
                </a:cubicBezTo>
                <a:close/>
                <a:moveTo>
                  <a:pt x="511944" y="332451"/>
                </a:moveTo>
                <a:cubicBezTo>
                  <a:pt x="540205" y="332451"/>
                  <a:pt x="563111" y="309542"/>
                  <a:pt x="563111" y="281284"/>
                </a:cubicBezTo>
                <a:cubicBezTo>
                  <a:pt x="563111" y="253023"/>
                  <a:pt x="540205" y="230117"/>
                  <a:pt x="511944" y="230117"/>
                </a:cubicBezTo>
                <a:cubicBezTo>
                  <a:pt x="483686" y="230117"/>
                  <a:pt x="460777" y="253023"/>
                  <a:pt x="460777" y="281284"/>
                </a:cubicBezTo>
                <a:cubicBezTo>
                  <a:pt x="460777" y="309542"/>
                  <a:pt x="483686" y="332451"/>
                  <a:pt x="511944" y="332451"/>
                </a:cubicBezTo>
                <a:close/>
                <a:moveTo>
                  <a:pt x="51167" y="332451"/>
                </a:moveTo>
                <a:cubicBezTo>
                  <a:pt x="79428" y="332451"/>
                  <a:pt x="102334" y="309542"/>
                  <a:pt x="102334" y="281284"/>
                </a:cubicBezTo>
                <a:cubicBezTo>
                  <a:pt x="102334" y="253023"/>
                  <a:pt x="79428" y="230117"/>
                  <a:pt x="51167" y="230117"/>
                </a:cubicBezTo>
                <a:cubicBezTo>
                  <a:pt x="22909" y="230117"/>
                  <a:pt x="0" y="253023"/>
                  <a:pt x="0" y="281284"/>
                </a:cubicBezTo>
                <a:cubicBezTo>
                  <a:pt x="0" y="309542"/>
                  <a:pt x="22909" y="332451"/>
                  <a:pt x="51167" y="332451"/>
                </a:cubicBezTo>
                <a:close/>
                <a:moveTo>
                  <a:pt x="281627" y="441199"/>
                </a:moveTo>
                <a:cubicBezTo>
                  <a:pt x="309890" y="441199"/>
                  <a:pt x="332796" y="418290"/>
                  <a:pt x="332796" y="390034"/>
                </a:cubicBezTo>
                <a:lnTo>
                  <a:pt x="332796" y="383642"/>
                </a:lnTo>
                <a:cubicBezTo>
                  <a:pt x="332796" y="355379"/>
                  <a:pt x="355704" y="332473"/>
                  <a:pt x="383965" y="332473"/>
                </a:cubicBezTo>
                <a:lnTo>
                  <a:pt x="390355" y="332473"/>
                </a:lnTo>
                <a:cubicBezTo>
                  <a:pt x="418616" y="332473"/>
                  <a:pt x="441524" y="309567"/>
                  <a:pt x="441524" y="281306"/>
                </a:cubicBezTo>
                <a:cubicBezTo>
                  <a:pt x="441524" y="253045"/>
                  <a:pt x="418616" y="230139"/>
                  <a:pt x="390355" y="230139"/>
                </a:cubicBezTo>
                <a:lnTo>
                  <a:pt x="383965" y="230139"/>
                </a:lnTo>
                <a:cubicBezTo>
                  <a:pt x="355704" y="230139"/>
                  <a:pt x="332796" y="207233"/>
                  <a:pt x="332796" y="178972"/>
                </a:cubicBezTo>
                <a:lnTo>
                  <a:pt x="332796" y="172580"/>
                </a:lnTo>
                <a:cubicBezTo>
                  <a:pt x="332796" y="144317"/>
                  <a:pt x="309890" y="121411"/>
                  <a:pt x="281627" y="121411"/>
                </a:cubicBezTo>
                <a:cubicBezTo>
                  <a:pt x="253371" y="121411"/>
                  <a:pt x="230460" y="144317"/>
                  <a:pt x="230460" y="172580"/>
                </a:cubicBezTo>
                <a:lnTo>
                  <a:pt x="230460" y="178972"/>
                </a:lnTo>
                <a:cubicBezTo>
                  <a:pt x="230460" y="207233"/>
                  <a:pt x="207553" y="230139"/>
                  <a:pt x="179293" y="230139"/>
                </a:cubicBezTo>
                <a:lnTo>
                  <a:pt x="172896" y="230139"/>
                </a:lnTo>
                <a:cubicBezTo>
                  <a:pt x="144638" y="230139"/>
                  <a:pt x="121729" y="253045"/>
                  <a:pt x="121729" y="281306"/>
                </a:cubicBezTo>
                <a:cubicBezTo>
                  <a:pt x="121729" y="309567"/>
                  <a:pt x="144638" y="332473"/>
                  <a:pt x="172896" y="332473"/>
                </a:cubicBezTo>
                <a:lnTo>
                  <a:pt x="179293" y="332475"/>
                </a:lnTo>
                <a:cubicBezTo>
                  <a:pt x="207553" y="332475"/>
                  <a:pt x="230460" y="355379"/>
                  <a:pt x="230460" y="383642"/>
                </a:cubicBezTo>
                <a:lnTo>
                  <a:pt x="230460" y="390034"/>
                </a:lnTo>
                <a:cubicBezTo>
                  <a:pt x="230460" y="418290"/>
                  <a:pt x="253371" y="441199"/>
                  <a:pt x="281627" y="441199"/>
                </a:cubicBezTo>
                <a:close/>
                <a:moveTo>
                  <a:pt x="281556" y="562570"/>
                </a:moveTo>
                <a:cubicBezTo>
                  <a:pt x="309819" y="562570"/>
                  <a:pt x="332725" y="539661"/>
                  <a:pt x="332725" y="511403"/>
                </a:cubicBezTo>
                <a:cubicBezTo>
                  <a:pt x="332725" y="483142"/>
                  <a:pt x="309819" y="460236"/>
                  <a:pt x="281556" y="460236"/>
                </a:cubicBezTo>
                <a:cubicBezTo>
                  <a:pt x="253298" y="460236"/>
                  <a:pt x="230389" y="483142"/>
                  <a:pt x="230389" y="511403"/>
                </a:cubicBezTo>
                <a:cubicBezTo>
                  <a:pt x="230389" y="539661"/>
                  <a:pt x="253298" y="562570"/>
                  <a:pt x="281556" y="562570"/>
                </a:cubicBezTo>
                <a:close/>
              </a:path>
            </a:pathLst>
          </a:custGeom>
          <a:solidFill>
            <a:schemeClr val="accent6"/>
          </a:solidFill>
          <a:ln w="2251" cap="flat">
            <a:noFill/>
            <a:prstDash val="solid"/>
            <a:miter/>
          </a:ln>
        </p:spPr>
        <p:txBody>
          <a:bodyPr rtlCol="0" anchor="ctr"/>
          <a:lstStyle/>
          <a:p>
            <a:pPr rtl="0"/>
            <a:endParaRPr lang="de-DE" dirty="0"/>
          </a:p>
        </p:txBody>
      </p:sp>
      <p:sp>
        <p:nvSpPr>
          <p:cNvPr id="9" name="Text Placeholder 9">
            <a:extLst>
              <a:ext uri="{FF2B5EF4-FFF2-40B4-BE49-F238E27FC236}">
                <a16:creationId xmlns:a16="http://schemas.microsoft.com/office/drawing/2014/main" id="{673CB77D-7EF9-4B57-BD30-E91A18ABF470}"/>
              </a:ext>
            </a:extLst>
          </p:cNvPr>
          <p:cNvSpPr>
            <a:spLocks noGrp="1"/>
          </p:cNvSpPr>
          <p:nvPr>
            <p:ph type="body" sz="quarter" idx="14" hasCustomPrompt="1"/>
          </p:nvPr>
        </p:nvSpPr>
        <p:spPr>
          <a:xfrm>
            <a:off x="1098550" y="4938713"/>
            <a:ext cx="7678290" cy="204787"/>
          </a:xfrm>
        </p:spPr>
        <p:txBody>
          <a:bodyPr anchor="ctr">
            <a:noAutofit/>
          </a:bodyPr>
          <a:lstStyle>
            <a:lvl1pPr marL="0" indent="0" rtl="0">
              <a:spcAft>
                <a:spcPts val="0"/>
              </a:spcAft>
              <a:buNone/>
              <a:defRPr sz="600"/>
            </a:lvl1pPr>
            <a:lvl2pPr marL="0" indent="0">
              <a:spcAft>
                <a:spcPts val="0"/>
              </a:spcAft>
              <a:buFont typeface="Arial" panose="020B0604020202020204" pitchFamily="34" charset="0"/>
              <a:buNone/>
              <a:defRPr sz="600"/>
            </a:lvl2pPr>
            <a:lvl3pPr marL="0" indent="0">
              <a:spcAft>
                <a:spcPts val="0"/>
              </a:spcAft>
              <a:buFont typeface="Arial" panose="020B0604020202020204" pitchFamily="34" charset="0"/>
              <a:buNone/>
              <a:defRPr sz="600"/>
            </a:lvl3pPr>
          </a:lstStyle>
          <a:p>
            <a:pPr lvl="0"/>
            <a:r>
              <a:rPr lang="de-DE" noProof="0" dirty="0"/>
              <a:t>Quelle: </a:t>
            </a:r>
          </a:p>
        </p:txBody>
      </p:sp>
      <p:grpSp>
        <p:nvGrpSpPr>
          <p:cNvPr id="27" name="Group 26">
            <a:extLst>
              <a:ext uri="{FF2B5EF4-FFF2-40B4-BE49-F238E27FC236}">
                <a16:creationId xmlns:a16="http://schemas.microsoft.com/office/drawing/2014/main" id="{5072181C-FD8E-4605-ABCD-4CE9FE02026F}"/>
              </a:ext>
            </a:extLst>
          </p:cNvPr>
          <p:cNvGrpSpPr/>
          <p:nvPr userDrawn="1"/>
        </p:nvGrpSpPr>
        <p:grpSpPr>
          <a:xfrm>
            <a:off x="9507912" y="0"/>
            <a:ext cx="1826837" cy="5143500"/>
            <a:chOff x="12455525" y="0"/>
            <a:chExt cx="2432456" cy="6858000"/>
          </a:xfrm>
        </p:grpSpPr>
        <p:sp>
          <p:nvSpPr>
            <p:cNvPr id="28" name="Rectangle 27">
              <a:extLst>
                <a:ext uri="{FF2B5EF4-FFF2-40B4-BE49-F238E27FC236}">
                  <a16:creationId xmlns:a16="http://schemas.microsoft.com/office/drawing/2014/main" id="{93265FCE-D7E9-4037-B064-6E28EBA30DFE}"/>
                </a:ext>
              </a:extLst>
            </p:cNvPr>
            <p:cNvSpPr/>
            <p:nvPr/>
          </p:nvSpPr>
          <p:spPr>
            <a:xfrm>
              <a:off x="12455525" y="0"/>
              <a:ext cx="2432456"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de-DE" sz="1100" b="1" noProof="0" dirty="0">
                  <a:solidFill>
                    <a:schemeClr val="tx1"/>
                  </a:solidFill>
                  <a:latin typeface="+mn-lt"/>
                </a:rPr>
                <a:t>Hinweis zum </a:t>
              </a:r>
              <a:br>
                <a:rPr lang="de-DE" sz="1100" b="1" noProof="0" dirty="0">
                  <a:solidFill>
                    <a:schemeClr val="tx1"/>
                  </a:solidFill>
                  <a:latin typeface="+mn-lt"/>
                </a:rPr>
              </a:br>
              <a:r>
                <a:rPr lang="de-DE" sz="1100" b="1" noProof="0" dirty="0">
                  <a:solidFill>
                    <a:schemeClr val="tx1"/>
                  </a:solidFill>
                  <a:latin typeface="+mn-lt"/>
                </a:rPr>
                <a:t>schnellen Formatieren von Texten: </a:t>
              </a: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br>
                <a:rPr lang="de-DE" sz="1100" b="1" noProof="0" dirty="0">
                  <a:solidFill>
                    <a:schemeClr val="tx1"/>
                  </a:solidFill>
                  <a:latin typeface="+mn-lt"/>
                </a:rPr>
              </a:br>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r>
                <a:rPr lang="de-DE" sz="1100" b="1" noProof="0" dirty="0">
                  <a:solidFill>
                    <a:schemeClr val="tx1"/>
                  </a:solidFill>
                  <a:latin typeface="+mn-lt"/>
                </a:rPr>
                <a:t>Absatz-Zeichen</a:t>
              </a:r>
              <a:r>
                <a:rPr lang="de-DE" sz="1100" b="0" noProof="0" dirty="0">
                  <a:solidFill>
                    <a:schemeClr val="tx1"/>
                  </a:solidFill>
                  <a:latin typeface="+mn-lt"/>
                </a:rPr>
                <a:t> nutzen, um zwischen diesen vorprogrammierten Textebenen zu wechseln: </a:t>
              </a:r>
            </a:p>
          </p:txBody>
        </p:sp>
        <p:sp>
          <p:nvSpPr>
            <p:cNvPr id="29" name="Textplatzhalter 45">
              <a:extLst>
                <a:ext uri="{FF2B5EF4-FFF2-40B4-BE49-F238E27FC236}">
                  <a16:creationId xmlns:a16="http://schemas.microsoft.com/office/drawing/2014/main" id="{548162B2-91FA-439A-9C6A-AD31F3D60913}"/>
                </a:ext>
              </a:extLst>
            </p:cNvPr>
            <p:cNvSpPr txBox="1">
              <a:spLocks/>
            </p:cNvSpPr>
            <p:nvPr/>
          </p:nvSpPr>
          <p:spPr>
            <a:xfrm>
              <a:off x="12623256" y="3829050"/>
              <a:ext cx="2097628" cy="1377179"/>
            </a:xfrm>
            <a:prstGeom prst="rect">
              <a:avLst/>
            </a:prstGeom>
          </p:spPr>
          <p:txBody>
            <a:bodyPr vert="horz" wrap="none"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25425" lvl="0" indent="-225425"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Char char="•"/>
              </a:pPr>
              <a:r>
                <a:rPr lang="de-DE" sz="1400" kern="1200" noProof="0" dirty="0">
                  <a:solidFill>
                    <a:schemeClr val="tx1"/>
                  </a:solidFill>
                  <a:latin typeface="+mn-lt"/>
                  <a:ea typeface="+mn-ea"/>
                  <a:cs typeface="+mn-cs"/>
                </a:rPr>
                <a:t>Erste Ebene</a:t>
              </a:r>
            </a:p>
            <a:p>
              <a:pPr marL="457200" lvl="1" indent="-225425" algn="l" defTabSz="914400" rtl="0" eaLnBrk="1" latinLnBrk="0" hangingPunct="1">
                <a:lnSpc>
                  <a:spcPct val="100000"/>
                </a:lnSpc>
                <a:spcBef>
                  <a:spcPts val="0"/>
                </a:spcBef>
                <a:spcAft>
                  <a:spcPts val="800"/>
                </a:spcAft>
                <a:buClr>
                  <a:schemeClr val="accent6"/>
                </a:buClr>
                <a:buSzPct val="110000"/>
                <a:buFont typeface="+mj-lt"/>
                <a:buAutoNum type="arabicPeriod"/>
              </a:pPr>
              <a:r>
                <a:rPr lang="de-DE" sz="1400" kern="1200" noProof="0" dirty="0">
                  <a:solidFill>
                    <a:schemeClr val="tx1"/>
                  </a:solidFill>
                  <a:latin typeface="+mn-lt"/>
                  <a:ea typeface="+mn-ea"/>
                  <a:cs typeface="+mn-cs"/>
                </a:rPr>
                <a:t>Zweite Ebene</a:t>
              </a:r>
            </a:p>
            <a:p>
              <a:pPr marL="685800" lvl="2" indent="-225425" algn="l" defTabSz="914400" rtl="0" eaLnBrk="1" latinLnBrk="0" hangingPunct="1">
                <a:lnSpc>
                  <a:spcPct val="100000"/>
                </a:lnSpc>
                <a:spcBef>
                  <a:spcPts val="0"/>
                </a:spcBef>
                <a:spcAft>
                  <a:spcPts val="800"/>
                </a:spcAft>
                <a:buClr>
                  <a:schemeClr val="accent6"/>
                </a:buClr>
                <a:buSzPct val="110000"/>
                <a:buFont typeface="+mj-lt"/>
                <a:buAutoNum type="alphaLcPeriod"/>
              </a:pPr>
              <a:r>
                <a:rPr lang="de-DE" sz="1400" b="0" kern="1200" noProof="0" dirty="0">
                  <a:solidFill>
                    <a:schemeClr val="tx1"/>
                  </a:solidFill>
                  <a:latin typeface="+mn-lt"/>
                  <a:ea typeface="+mn-ea"/>
                  <a:cs typeface="+mn-cs"/>
                </a:rPr>
                <a:t>Dritte Ebene</a:t>
              </a:r>
            </a:p>
            <a:p>
              <a:pPr marL="0" lvl="3"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kern="1200" noProof="0" dirty="0">
                  <a:solidFill>
                    <a:schemeClr val="tx1"/>
                  </a:solidFill>
                  <a:latin typeface="+mn-lt"/>
                  <a:ea typeface="+mn-ea"/>
                  <a:cs typeface="+mn-cs"/>
                </a:rPr>
                <a:t>Vierte Ebene</a:t>
              </a:r>
            </a:p>
            <a:p>
              <a:pPr marL="0" lvl="4"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b="1" kern="1200" noProof="0" dirty="0">
                  <a:solidFill>
                    <a:schemeClr val="tx1"/>
                  </a:solidFill>
                  <a:latin typeface="+mn-lt"/>
                  <a:ea typeface="+mn-ea"/>
                  <a:cs typeface="+mn-cs"/>
                </a:rPr>
                <a:t>Fünfte Ebene</a:t>
              </a:r>
            </a:p>
          </p:txBody>
        </p:sp>
        <p:grpSp>
          <p:nvGrpSpPr>
            <p:cNvPr id="30" name="Group 29">
              <a:extLst>
                <a:ext uri="{FF2B5EF4-FFF2-40B4-BE49-F238E27FC236}">
                  <a16:creationId xmlns:a16="http://schemas.microsoft.com/office/drawing/2014/main" id="{2BD48875-FE3B-4B24-9023-13FB53B9CAA4}"/>
                </a:ext>
              </a:extLst>
            </p:cNvPr>
            <p:cNvGrpSpPr/>
            <p:nvPr/>
          </p:nvGrpSpPr>
          <p:grpSpPr>
            <a:xfrm>
              <a:off x="12656430" y="1089171"/>
              <a:ext cx="1584137" cy="987131"/>
              <a:chOff x="3838574" y="-1487553"/>
              <a:chExt cx="1819275" cy="1133654"/>
            </a:xfrm>
          </p:grpSpPr>
          <p:pic>
            <p:nvPicPr>
              <p:cNvPr id="37" name="Picture 36">
                <a:extLst>
                  <a:ext uri="{FF2B5EF4-FFF2-40B4-BE49-F238E27FC236}">
                    <a16:creationId xmlns:a16="http://schemas.microsoft.com/office/drawing/2014/main" id="{962E5706-FEE1-4B8A-B061-39A1355B0C62}"/>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838574" y="-1487553"/>
                <a:ext cx="1819275" cy="1133654"/>
              </a:xfrm>
              <a:prstGeom prst="rect">
                <a:avLst/>
              </a:prstGeom>
              <a:ln>
                <a:solidFill>
                  <a:schemeClr val="tx1"/>
                </a:solidFill>
              </a:ln>
            </p:spPr>
          </p:pic>
          <p:pic>
            <p:nvPicPr>
              <p:cNvPr id="38" name="Picture 37">
                <a:extLst>
                  <a:ext uri="{FF2B5EF4-FFF2-40B4-BE49-F238E27FC236}">
                    <a16:creationId xmlns:a16="http://schemas.microsoft.com/office/drawing/2014/main" id="{355945F4-0C31-4F65-9DD2-9ECEC388C41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838574" y="-1197759"/>
                <a:ext cx="1758949" cy="843860"/>
              </a:xfrm>
              <a:prstGeom prst="rect">
                <a:avLst/>
              </a:prstGeom>
            </p:spPr>
          </p:pic>
          <p:sp>
            <p:nvSpPr>
              <p:cNvPr id="39" name="Rectangle 38">
                <a:extLst>
                  <a:ext uri="{FF2B5EF4-FFF2-40B4-BE49-F238E27FC236}">
                    <a16:creationId xmlns:a16="http://schemas.microsoft.com/office/drawing/2014/main" id="{C47E9251-0512-44D4-A598-C359CA99748C}"/>
                  </a:ext>
                </a:extLst>
              </p:cNvPr>
              <p:cNvSpPr/>
              <p:nvPr userDrawn="1"/>
            </p:nvSpPr>
            <p:spPr>
              <a:xfrm>
                <a:off x="5517931" y="-1487553"/>
                <a:ext cx="139917" cy="983056"/>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grpSp>
        <p:sp>
          <p:nvSpPr>
            <p:cNvPr id="31" name="Oval 30">
              <a:extLst>
                <a:ext uri="{FF2B5EF4-FFF2-40B4-BE49-F238E27FC236}">
                  <a16:creationId xmlns:a16="http://schemas.microsoft.com/office/drawing/2014/main" id="{50254A96-902F-40E8-BF5E-57B455175261}"/>
                </a:ext>
              </a:extLst>
            </p:cNvPr>
            <p:cNvSpPr/>
            <p:nvPr/>
          </p:nvSpPr>
          <p:spPr>
            <a:xfrm>
              <a:off x="13370810" y="1243451"/>
              <a:ext cx="407914" cy="407914"/>
            </a:xfrm>
            <a:prstGeom prst="ellipse">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sp>
          <p:nvSpPr>
            <p:cNvPr id="32" name="Arc 31">
              <a:extLst>
                <a:ext uri="{FF2B5EF4-FFF2-40B4-BE49-F238E27FC236}">
                  <a16:creationId xmlns:a16="http://schemas.microsoft.com/office/drawing/2014/main" id="{B4F8AE39-CDE3-46A5-8114-6FF858D51920}"/>
                </a:ext>
              </a:extLst>
            </p:cNvPr>
            <p:cNvSpPr/>
            <p:nvPr/>
          </p:nvSpPr>
          <p:spPr>
            <a:xfrm rot="15649404">
              <a:off x="12562252" y="1598191"/>
              <a:ext cx="2019300" cy="1666765"/>
            </a:xfrm>
            <a:prstGeom prst="arc">
              <a:avLst>
                <a:gd name="adj1" fmla="val 16676483"/>
                <a:gd name="adj2" fmla="val 0"/>
              </a:avLst>
            </a:prstGeom>
            <a:ln w="28575">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100" noProof="0" dirty="0">
                <a:latin typeface="+mn-lt"/>
              </a:endParaRPr>
            </a:p>
          </p:txBody>
        </p:sp>
        <p:sp>
          <p:nvSpPr>
            <p:cNvPr id="33" name="TextBox 32">
              <a:extLst>
                <a:ext uri="{FF2B5EF4-FFF2-40B4-BE49-F238E27FC236}">
                  <a16:creationId xmlns:a16="http://schemas.microsoft.com/office/drawing/2014/main" id="{2D03EB1C-612D-4D88-A18B-E6839099C73F}"/>
                </a:ext>
              </a:extLst>
            </p:cNvPr>
            <p:cNvSpPr txBox="1"/>
            <p:nvPr/>
          </p:nvSpPr>
          <p:spPr>
            <a:xfrm>
              <a:off x="12666422"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Start</a:t>
              </a:r>
            </a:p>
          </p:txBody>
        </p:sp>
        <p:sp>
          <p:nvSpPr>
            <p:cNvPr id="34" name="TextBox 33">
              <a:extLst>
                <a:ext uri="{FF2B5EF4-FFF2-40B4-BE49-F238E27FC236}">
                  <a16:creationId xmlns:a16="http://schemas.microsoft.com/office/drawing/2014/main" id="{4CDD7BCA-774C-4231-84BB-8C651A78C6AC}"/>
                </a:ext>
              </a:extLst>
            </p:cNvPr>
            <p:cNvSpPr txBox="1"/>
            <p:nvPr/>
          </p:nvSpPr>
          <p:spPr>
            <a:xfrm>
              <a:off x="13167679"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infügen</a:t>
              </a:r>
            </a:p>
          </p:txBody>
        </p:sp>
        <p:sp>
          <p:nvSpPr>
            <p:cNvPr id="35" name="TextBox 34">
              <a:extLst>
                <a:ext uri="{FF2B5EF4-FFF2-40B4-BE49-F238E27FC236}">
                  <a16:creationId xmlns:a16="http://schemas.microsoft.com/office/drawing/2014/main" id="{A2483955-CAD2-4DF0-BD69-6A1198FE289D}"/>
                </a:ext>
              </a:extLst>
            </p:cNvPr>
            <p:cNvSpPr txBox="1"/>
            <p:nvPr/>
          </p:nvSpPr>
          <p:spPr>
            <a:xfrm>
              <a:off x="13706533"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ntwurf</a:t>
              </a:r>
            </a:p>
          </p:txBody>
        </p:sp>
        <p:sp>
          <p:nvSpPr>
            <p:cNvPr id="36" name="TextBox 35">
              <a:extLst>
                <a:ext uri="{FF2B5EF4-FFF2-40B4-BE49-F238E27FC236}">
                  <a16:creationId xmlns:a16="http://schemas.microsoft.com/office/drawing/2014/main" id="{CD241B54-B676-4C0F-B016-6684B1F50EA1}"/>
                </a:ext>
              </a:extLst>
            </p:cNvPr>
            <p:cNvSpPr txBox="1"/>
            <p:nvPr/>
          </p:nvSpPr>
          <p:spPr>
            <a:xfrm>
              <a:off x="13662625" y="1929226"/>
              <a:ext cx="546374" cy="136662"/>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Absatz</a:t>
              </a:r>
            </a:p>
          </p:txBody>
        </p:sp>
      </p:grpSp>
    </p:spTree>
    <p:extLst>
      <p:ext uri="{BB962C8B-B14F-4D97-AF65-F5344CB8AC3E}">
        <p14:creationId xmlns:p14="http://schemas.microsoft.com/office/powerpoint/2010/main" val="3260024062"/>
      </p:ext>
    </p:extLst>
  </p:cSld>
  <p:clrMapOvr>
    <a:masterClrMapping/>
  </p:clrMapOvr>
  <p:extLst>
    <p:ext uri="{DCECCB84-F9BA-43D5-87BE-67443E8EF086}">
      <p15:sldGuideLst xmlns:p15="http://schemas.microsoft.com/office/powerpoint/2012/main">
        <p15:guide id="1" pos="231" userDrawn="1">
          <p15:clr>
            <a:srgbClr val="F26B43"/>
          </p15:clr>
        </p15:guide>
        <p15:guide id="2" orient="horz" pos="648" userDrawn="1">
          <p15:clr>
            <a:srgbClr val="F26B43"/>
          </p15:clr>
        </p15:guide>
        <p15:guide id="3" orient="horz" pos="3111" userDrawn="1">
          <p15:clr>
            <a:srgbClr val="F26B43"/>
          </p15:clr>
        </p15:guide>
        <p15:guide id="4" pos="5529" userDrawn="1">
          <p15:clr>
            <a:srgbClr val="F26B43"/>
          </p15:clr>
        </p15:guide>
        <p15:guide id="5" orient="horz" pos="389"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mit Text  / dunkelgrü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B55E966-152B-4155-BC8B-37B3DB47884B}"/>
              </a:ext>
            </a:extLst>
          </p:cNvPr>
          <p:cNvGraphicFramePr>
            <a:graphicFrameLocks noChangeAspect="1"/>
          </p:cNvGraphicFramePr>
          <p:nvPr userDrawn="1">
            <p:custDataLst>
              <p:tags r:id="rId2"/>
            </p:custDataLst>
            <p:extLst>
              <p:ext uri="{D42A27DB-BD31-4B8C-83A1-F6EECF244321}">
                <p14:modId xmlns:p14="http://schemas.microsoft.com/office/powerpoint/2010/main" val="1450348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177"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B55E966-152B-4155-BC8B-37B3DB4788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605D5426-1391-4BA2-884D-0F59552042BD}"/>
              </a:ext>
            </a:extLst>
          </p:cNvPr>
          <p:cNvSpPr/>
          <p:nvPr userDrawn="1"/>
        </p:nvSpPr>
        <p:spPr>
          <a:xfrm>
            <a:off x="0" y="617537"/>
            <a:ext cx="9144000" cy="45259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rtl="0"/>
            <a:endParaRPr lang="de-DE" sz="1400" dirty="0">
              <a:solidFill>
                <a:schemeClr val="bg1"/>
              </a:solidFill>
            </a:endParaRPr>
          </a:p>
        </p:txBody>
      </p:sp>
      <p:sp>
        <p:nvSpPr>
          <p:cNvPr id="2" name="Title 1">
            <a:extLst>
              <a:ext uri="{FF2B5EF4-FFF2-40B4-BE49-F238E27FC236}">
                <a16:creationId xmlns:a16="http://schemas.microsoft.com/office/drawing/2014/main" id="{FA37A3E9-4AC7-40AB-9175-27E504FE91D6}"/>
              </a:ext>
            </a:extLst>
          </p:cNvPr>
          <p:cNvSpPr>
            <a:spLocks noGrp="1"/>
          </p:cNvSpPr>
          <p:nvPr>
            <p:ph type="title" hasCustomPrompt="1"/>
          </p:nvPr>
        </p:nvSpPr>
        <p:spPr/>
        <p:txBody>
          <a:bodyPr vert="horz"/>
          <a:lstStyle>
            <a:lvl1pPr rtl="0">
              <a:defRPr/>
            </a:lvl1pPr>
          </a:lstStyle>
          <a:p>
            <a:r>
              <a:rPr lang="de-DE" noProof="0" dirty="0"/>
              <a:t>Titel </a:t>
            </a:r>
            <a:br>
              <a:rPr lang="de-DE" noProof="0" dirty="0"/>
            </a:br>
            <a:r>
              <a:rPr lang="de-DE" noProof="0" dirty="0"/>
              <a:t>hinzufügen</a:t>
            </a:r>
            <a:endParaRPr lang="de-DE" dirty="0"/>
          </a:p>
        </p:txBody>
      </p:sp>
      <p:sp>
        <p:nvSpPr>
          <p:cNvPr id="6" name="Slide Number Placeholder 5">
            <a:extLst>
              <a:ext uri="{FF2B5EF4-FFF2-40B4-BE49-F238E27FC236}">
                <a16:creationId xmlns:a16="http://schemas.microsoft.com/office/drawing/2014/main" id="{944DA456-96F7-4E88-B5F0-01FD9C0599E9}"/>
              </a:ext>
            </a:extLst>
          </p:cNvPr>
          <p:cNvSpPr>
            <a:spLocks noGrp="1"/>
          </p:cNvSpPr>
          <p:nvPr>
            <p:ph type="sldNum" sz="quarter" idx="12"/>
          </p:nvPr>
        </p:nvSpPr>
        <p:spPr/>
        <p:txBody>
          <a:bodyPr/>
          <a:lstStyle>
            <a:lvl1pPr rtl="0">
              <a:defRPr>
                <a:solidFill>
                  <a:schemeClr val="bg1"/>
                </a:solidFill>
              </a:defRPr>
            </a:lvl1pPr>
          </a:lstStyle>
          <a:p>
            <a:fld id="{61A237A4-5F56-495D-ADE9-563CDE6DCB6B}" type="slidenum">
              <a:rPr lang="de-DE" smtClean="0"/>
              <a:pPr/>
              <a:t>‹Nr.›</a:t>
            </a:fld>
            <a:endParaRPr lang="de-DE" dirty="0"/>
          </a:p>
        </p:txBody>
      </p:sp>
      <p:sp>
        <p:nvSpPr>
          <p:cNvPr id="10" name="Text Placeholder 9">
            <a:extLst>
              <a:ext uri="{FF2B5EF4-FFF2-40B4-BE49-F238E27FC236}">
                <a16:creationId xmlns:a16="http://schemas.microsoft.com/office/drawing/2014/main" id="{56B40821-1E4B-4B1A-A4EC-67ED383914AF}"/>
              </a:ext>
            </a:extLst>
          </p:cNvPr>
          <p:cNvSpPr>
            <a:spLocks noGrp="1"/>
          </p:cNvSpPr>
          <p:nvPr>
            <p:ph type="body" sz="quarter" idx="13" hasCustomPrompt="1"/>
          </p:nvPr>
        </p:nvSpPr>
        <p:spPr>
          <a:xfrm>
            <a:off x="366712" y="1028700"/>
            <a:ext cx="8410576" cy="3910013"/>
          </a:xfrm>
        </p:spPr>
        <p:txBody>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de-DE" noProof="0" dirty="0"/>
              <a:t>Erste Ebene</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0" name="Freeform: Shape 19">
            <a:extLst>
              <a:ext uri="{FF2B5EF4-FFF2-40B4-BE49-F238E27FC236}">
                <a16:creationId xmlns:a16="http://schemas.microsoft.com/office/drawing/2014/main" id="{10E6F3C5-AC13-4A00-94F9-5D5B5A4EC27C}"/>
              </a:ext>
            </a:extLst>
          </p:cNvPr>
          <p:cNvSpPr/>
          <p:nvPr/>
        </p:nvSpPr>
        <p:spPr>
          <a:xfrm flipV="1">
            <a:off x="8213729" y="337025"/>
            <a:ext cx="563111" cy="562570"/>
          </a:xfrm>
          <a:custGeom>
            <a:avLst/>
            <a:gdLst>
              <a:gd name="connsiteX0" fmla="*/ 281556 w 563111"/>
              <a:gd name="connsiteY0" fmla="*/ 102334 h 562570"/>
              <a:gd name="connsiteX1" fmla="*/ 332725 w 563111"/>
              <a:gd name="connsiteY1" fmla="*/ 51167 h 562570"/>
              <a:gd name="connsiteX2" fmla="*/ 281556 w 563111"/>
              <a:gd name="connsiteY2" fmla="*/ 0 h 562570"/>
              <a:gd name="connsiteX3" fmla="*/ 230389 w 563111"/>
              <a:gd name="connsiteY3" fmla="*/ 51167 h 562570"/>
              <a:gd name="connsiteX4" fmla="*/ 281556 w 563111"/>
              <a:gd name="connsiteY4" fmla="*/ 102334 h 562570"/>
              <a:gd name="connsiteX5" fmla="*/ 511944 w 563111"/>
              <a:gd name="connsiteY5" fmla="*/ 332451 h 562570"/>
              <a:gd name="connsiteX6" fmla="*/ 563111 w 563111"/>
              <a:gd name="connsiteY6" fmla="*/ 281284 h 562570"/>
              <a:gd name="connsiteX7" fmla="*/ 511944 w 563111"/>
              <a:gd name="connsiteY7" fmla="*/ 230117 h 562570"/>
              <a:gd name="connsiteX8" fmla="*/ 460777 w 563111"/>
              <a:gd name="connsiteY8" fmla="*/ 281284 h 562570"/>
              <a:gd name="connsiteX9" fmla="*/ 511944 w 563111"/>
              <a:gd name="connsiteY9" fmla="*/ 332451 h 562570"/>
              <a:gd name="connsiteX10" fmla="*/ 51167 w 563111"/>
              <a:gd name="connsiteY10" fmla="*/ 332451 h 562570"/>
              <a:gd name="connsiteX11" fmla="*/ 102334 w 563111"/>
              <a:gd name="connsiteY11" fmla="*/ 281284 h 562570"/>
              <a:gd name="connsiteX12" fmla="*/ 51167 w 563111"/>
              <a:gd name="connsiteY12" fmla="*/ 230117 h 562570"/>
              <a:gd name="connsiteX13" fmla="*/ 0 w 563111"/>
              <a:gd name="connsiteY13" fmla="*/ 281284 h 562570"/>
              <a:gd name="connsiteX14" fmla="*/ 51167 w 563111"/>
              <a:gd name="connsiteY14" fmla="*/ 332451 h 562570"/>
              <a:gd name="connsiteX15" fmla="*/ 281627 w 563111"/>
              <a:gd name="connsiteY15" fmla="*/ 441199 h 562570"/>
              <a:gd name="connsiteX16" fmla="*/ 332796 w 563111"/>
              <a:gd name="connsiteY16" fmla="*/ 390034 h 562570"/>
              <a:gd name="connsiteX17" fmla="*/ 332796 w 563111"/>
              <a:gd name="connsiteY17" fmla="*/ 383642 h 562570"/>
              <a:gd name="connsiteX18" fmla="*/ 383965 w 563111"/>
              <a:gd name="connsiteY18" fmla="*/ 332473 h 562570"/>
              <a:gd name="connsiteX19" fmla="*/ 390355 w 563111"/>
              <a:gd name="connsiteY19" fmla="*/ 332473 h 562570"/>
              <a:gd name="connsiteX20" fmla="*/ 441524 w 563111"/>
              <a:gd name="connsiteY20" fmla="*/ 281306 h 562570"/>
              <a:gd name="connsiteX21" fmla="*/ 390355 w 563111"/>
              <a:gd name="connsiteY21" fmla="*/ 230139 h 562570"/>
              <a:gd name="connsiteX22" fmla="*/ 383965 w 563111"/>
              <a:gd name="connsiteY22" fmla="*/ 230139 h 562570"/>
              <a:gd name="connsiteX23" fmla="*/ 332796 w 563111"/>
              <a:gd name="connsiteY23" fmla="*/ 178972 h 562570"/>
              <a:gd name="connsiteX24" fmla="*/ 332796 w 563111"/>
              <a:gd name="connsiteY24" fmla="*/ 172580 h 562570"/>
              <a:gd name="connsiteX25" fmla="*/ 281627 w 563111"/>
              <a:gd name="connsiteY25" fmla="*/ 121411 h 562570"/>
              <a:gd name="connsiteX26" fmla="*/ 230460 w 563111"/>
              <a:gd name="connsiteY26" fmla="*/ 172580 h 562570"/>
              <a:gd name="connsiteX27" fmla="*/ 230460 w 563111"/>
              <a:gd name="connsiteY27" fmla="*/ 178972 h 562570"/>
              <a:gd name="connsiteX28" fmla="*/ 179293 w 563111"/>
              <a:gd name="connsiteY28" fmla="*/ 230139 h 562570"/>
              <a:gd name="connsiteX29" fmla="*/ 172896 w 563111"/>
              <a:gd name="connsiteY29" fmla="*/ 230139 h 562570"/>
              <a:gd name="connsiteX30" fmla="*/ 121729 w 563111"/>
              <a:gd name="connsiteY30" fmla="*/ 281306 h 562570"/>
              <a:gd name="connsiteX31" fmla="*/ 172896 w 563111"/>
              <a:gd name="connsiteY31" fmla="*/ 332473 h 562570"/>
              <a:gd name="connsiteX32" fmla="*/ 179293 w 563111"/>
              <a:gd name="connsiteY32" fmla="*/ 332475 h 562570"/>
              <a:gd name="connsiteX33" fmla="*/ 230460 w 563111"/>
              <a:gd name="connsiteY33" fmla="*/ 383642 h 562570"/>
              <a:gd name="connsiteX34" fmla="*/ 230460 w 563111"/>
              <a:gd name="connsiteY34" fmla="*/ 390034 h 562570"/>
              <a:gd name="connsiteX35" fmla="*/ 281627 w 563111"/>
              <a:gd name="connsiteY35" fmla="*/ 441199 h 562570"/>
              <a:gd name="connsiteX36" fmla="*/ 281556 w 563111"/>
              <a:gd name="connsiteY36" fmla="*/ 562570 h 562570"/>
              <a:gd name="connsiteX37" fmla="*/ 332725 w 563111"/>
              <a:gd name="connsiteY37" fmla="*/ 511403 h 562570"/>
              <a:gd name="connsiteX38" fmla="*/ 281556 w 563111"/>
              <a:gd name="connsiteY38" fmla="*/ 460236 h 562570"/>
              <a:gd name="connsiteX39" fmla="*/ 230389 w 563111"/>
              <a:gd name="connsiteY39" fmla="*/ 511403 h 562570"/>
              <a:gd name="connsiteX40" fmla="*/ 281556 w 563111"/>
              <a:gd name="connsiteY40" fmla="*/ 562570 h 5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63111" h="562570">
                <a:moveTo>
                  <a:pt x="281556" y="102334"/>
                </a:moveTo>
                <a:cubicBezTo>
                  <a:pt x="309819" y="102334"/>
                  <a:pt x="332725" y="79425"/>
                  <a:pt x="332725" y="51167"/>
                </a:cubicBezTo>
                <a:cubicBezTo>
                  <a:pt x="332725" y="22906"/>
                  <a:pt x="309819" y="0"/>
                  <a:pt x="281556" y="0"/>
                </a:cubicBezTo>
                <a:cubicBezTo>
                  <a:pt x="253298" y="0"/>
                  <a:pt x="230389" y="22906"/>
                  <a:pt x="230389" y="51167"/>
                </a:cubicBezTo>
                <a:cubicBezTo>
                  <a:pt x="230389" y="79425"/>
                  <a:pt x="253298" y="102334"/>
                  <a:pt x="281556" y="102334"/>
                </a:cubicBezTo>
                <a:close/>
                <a:moveTo>
                  <a:pt x="511944" y="332451"/>
                </a:moveTo>
                <a:cubicBezTo>
                  <a:pt x="540205" y="332451"/>
                  <a:pt x="563111" y="309542"/>
                  <a:pt x="563111" y="281284"/>
                </a:cubicBezTo>
                <a:cubicBezTo>
                  <a:pt x="563111" y="253023"/>
                  <a:pt x="540205" y="230117"/>
                  <a:pt x="511944" y="230117"/>
                </a:cubicBezTo>
                <a:cubicBezTo>
                  <a:pt x="483686" y="230117"/>
                  <a:pt x="460777" y="253023"/>
                  <a:pt x="460777" y="281284"/>
                </a:cubicBezTo>
                <a:cubicBezTo>
                  <a:pt x="460777" y="309542"/>
                  <a:pt x="483686" y="332451"/>
                  <a:pt x="511944" y="332451"/>
                </a:cubicBezTo>
                <a:close/>
                <a:moveTo>
                  <a:pt x="51167" y="332451"/>
                </a:moveTo>
                <a:cubicBezTo>
                  <a:pt x="79428" y="332451"/>
                  <a:pt x="102334" y="309542"/>
                  <a:pt x="102334" y="281284"/>
                </a:cubicBezTo>
                <a:cubicBezTo>
                  <a:pt x="102334" y="253023"/>
                  <a:pt x="79428" y="230117"/>
                  <a:pt x="51167" y="230117"/>
                </a:cubicBezTo>
                <a:cubicBezTo>
                  <a:pt x="22909" y="230117"/>
                  <a:pt x="0" y="253023"/>
                  <a:pt x="0" y="281284"/>
                </a:cubicBezTo>
                <a:cubicBezTo>
                  <a:pt x="0" y="309542"/>
                  <a:pt x="22909" y="332451"/>
                  <a:pt x="51167" y="332451"/>
                </a:cubicBezTo>
                <a:close/>
                <a:moveTo>
                  <a:pt x="281627" y="441199"/>
                </a:moveTo>
                <a:cubicBezTo>
                  <a:pt x="309890" y="441199"/>
                  <a:pt x="332796" y="418290"/>
                  <a:pt x="332796" y="390034"/>
                </a:cubicBezTo>
                <a:lnTo>
                  <a:pt x="332796" y="383642"/>
                </a:lnTo>
                <a:cubicBezTo>
                  <a:pt x="332796" y="355379"/>
                  <a:pt x="355704" y="332473"/>
                  <a:pt x="383965" y="332473"/>
                </a:cubicBezTo>
                <a:lnTo>
                  <a:pt x="390355" y="332473"/>
                </a:lnTo>
                <a:cubicBezTo>
                  <a:pt x="418616" y="332473"/>
                  <a:pt x="441524" y="309567"/>
                  <a:pt x="441524" y="281306"/>
                </a:cubicBezTo>
                <a:cubicBezTo>
                  <a:pt x="441524" y="253045"/>
                  <a:pt x="418616" y="230139"/>
                  <a:pt x="390355" y="230139"/>
                </a:cubicBezTo>
                <a:lnTo>
                  <a:pt x="383965" y="230139"/>
                </a:lnTo>
                <a:cubicBezTo>
                  <a:pt x="355704" y="230139"/>
                  <a:pt x="332796" y="207233"/>
                  <a:pt x="332796" y="178972"/>
                </a:cubicBezTo>
                <a:lnTo>
                  <a:pt x="332796" y="172580"/>
                </a:lnTo>
                <a:cubicBezTo>
                  <a:pt x="332796" y="144317"/>
                  <a:pt x="309890" y="121411"/>
                  <a:pt x="281627" y="121411"/>
                </a:cubicBezTo>
                <a:cubicBezTo>
                  <a:pt x="253371" y="121411"/>
                  <a:pt x="230460" y="144317"/>
                  <a:pt x="230460" y="172580"/>
                </a:cubicBezTo>
                <a:lnTo>
                  <a:pt x="230460" y="178972"/>
                </a:lnTo>
                <a:cubicBezTo>
                  <a:pt x="230460" y="207233"/>
                  <a:pt x="207553" y="230139"/>
                  <a:pt x="179293" y="230139"/>
                </a:cubicBezTo>
                <a:lnTo>
                  <a:pt x="172896" y="230139"/>
                </a:lnTo>
                <a:cubicBezTo>
                  <a:pt x="144638" y="230139"/>
                  <a:pt x="121729" y="253045"/>
                  <a:pt x="121729" y="281306"/>
                </a:cubicBezTo>
                <a:cubicBezTo>
                  <a:pt x="121729" y="309567"/>
                  <a:pt x="144638" y="332473"/>
                  <a:pt x="172896" y="332473"/>
                </a:cubicBezTo>
                <a:lnTo>
                  <a:pt x="179293" y="332475"/>
                </a:lnTo>
                <a:cubicBezTo>
                  <a:pt x="207553" y="332475"/>
                  <a:pt x="230460" y="355379"/>
                  <a:pt x="230460" y="383642"/>
                </a:cubicBezTo>
                <a:lnTo>
                  <a:pt x="230460" y="390034"/>
                </a:lnTo>
                <a:cubicBezTo>
                  <a:pt x="230460" y="418290"/>
                  <a:pt x="253371" y="441199"/>
                  <a:pt x="281627" y="441199"/>
                </a:cubicBezTo>
                <a:close/>
                <a:moveTo>
                  <a:pt x="281556" y="562570"/>
                </a:moveTo>
                <a:cubicBezTo>
                  <a:pt x="309819" y="562570"/>
                  <a:pt x="332725" y="539661"/>
                  <a:pt x="332725" y="511403"/>
                </a:cubicBezTo>
                <a:cubicBezTo>
                  <a:pt x="332725" y="483142"/>
                  <a:pt x="309819" y="460236"/>
                  <a:pt x="281556" y="460236"/>
                </a:cubicBezTo>
                <a:cubicBezTo>
                  <a:pt x="253298" y="460236"/>
                  <a:pt x="230389" y="483142"/>
                  <a:pt x="230389" y="511403"/>
                </a:cubicBezTo>
                <a:cubicBezTo>
                  <a:pt x="230389" y="539661"/>
                  <a:pt x="253298" y="562570"/>
                  <a:pt x="281556" y="562570"/>
                </a:cubicBezTo>
                <a:close/>
              </a:path>
            </a:pathLst>
          </a:custGeom>
          <a:solidFill>
            <a:schemeClr val="accent6"/>
          </a:solidFill>
          <a:ln w="2251" cap="flat">
            <a:noFill/>
            <a:prstDash val="solid"/>
            <a:miter/>
          </a:ln>
        </p:spPr>
        <p:txBody>
          <a:bodyPr rtlCol="0" anchor="ctr"/>
          <a:lstStyle/>
          <a:p>
            <a:pPr rtl="0"/>
            <a:endParaRPr lang="de-DE" dirty="0"/>
          </a:p>
        </p:txBody>
      </p:sp>
      <p:sp>
        <p:nvSpPr>
          <p:cNvPr id="9" name="Text Placeholder 9">
            <a:extLst>
              <a:ext uri="{FF2B5EF4-FFF2-40B4-BE49-F238E27FC236}">
                <a16:creationId xmlns:a16="http://schemas.microsoft.com/office/drawing/2014/main" id="{673CB77D-7EF9-4B57-BD30-E91A18ABF470}"/>
              </a:ext>
            </a:extLst>
          </p:cNvPr>
          <p:cNvSpPr>
            <a:spLocks noGrp="1"/>
          </p:cNvSpPr>
          <p:nvPr>
            <p:ph type="body" sz="quarter" idx="14" hasCustomPrompt="1"/>
          </p:nvPr>
        </p:nvSpPr>
        <p:spPr>
          <a:xfrm>
            <a:off x="1098550" y="4938713"/>
            <a:ext cx="7678290" cy="204787"/>
          </a:xfrm>
        </p:spPr>
        <p:txBody>
          <a:bodyPr anchor="ctr">
            <a:noAutofit/>
          </a:bodyPr>
          <a:lstStyle>
            <a:lvl1pPr marL="0" indent="0" rtl="0">
              <a:spcAft>
                <a:spcPts val="0"/>
              </a:spcAft>
              <a:buNone/>
              <a:defRPr sz="600">
                <a:solidFill>
                  <a:schemeClr val="bg1"/>
                </a:solidFill>
              </a:defRPr>
            </a:lvl1pPr>
            <a:lvl2pPr marL="0" indent="0">
              <a:spcAft>
                <a:spcPts val="0"/>
              </a:spcAft>
              <a:buFont typeface="Arial" panose="020B0604020202020204" pitchFamily="34" charset="0"/>
              <a:buNone/>
              <a:defRPr sz="600"/>
            </a:lvl2pPr>
            <a:lvl3pPr marL="0" indent="0">
              <a:spcAft>
                <a:spcPts val="0"/>
              </a:spcAft>
              <a:buFont typeface="Arial" panose="020B0604020202020204" pitchFamily="34" charset="0"/>
              <a:buNone/>
              <a:defRPr sz="600"/>
            </a:lvl3pPr>
          </a:lstStyle>
          <a:p>
            <a:pPr lvl="0"/>
            <a:r>
              <a:rPr lang="de-DE" noProof="0" dirty="0"/>
              <a:t>Quelle: </a:t>
            </a:r>
          </a:p>
        </p:txBody>
      </p:sp>
      <p:grpSp>
        <p:nvGrpSpPr>
          <p:cNvPr id="40" name="Group 39">
            <a:extLst>
              <a:ext uri="{FF2B5EF4-FFF2-40B4-BE49-F238E27FC236}">
                <a16:creationId xmlns:a16="http://schemas.microsoft.com/office/drawing/2014/main" id="{3A6ED1E6-C55F-4D0F-85B9-9272C8884523}"/>
              </a:ext>
            </a:extLst>
          </p:cNvPr>
          <p:cNvGrpSpPr/>
          <p:nvPr userDrawn="1"/>
        </p:nvGrpSpPr>
        <p:grpSpPr>
          <a:xfrm>
            <a:off x="9507912" y="0"/>
            <a:ext cx="1826837" cy="5143500"/>
            <a:chOff x="12455525" y="0"/>
            <a:chExt cx="2432456" cy="6858000"/>
          </a:xfrm>
        </p:grpSpPr>
        <p:sp>
          <p:nvSpPr>
            <p:cNvPr id="41" name="Rectangle 40">
              <a:extLst>
                <a:ext uri="{FF2B5EF4-FFF2-40B4-BE49-F238E27FC236}">
                  <a16:creationId xmlns:a16="http://schemas.microsoft.com/office/drawing/2014/main" id="{DBDF6B17-0F3E-44CE-A599-972B87858770}"/>
                </a:ext>
              </a:extLst>
            </p:cNvPr>
            <p:cNvSpPr/>
            <p:nvPr/>
          </p:nvSpPr>
          <p:spPr>
            <a:xfrm>
              <a:off x="12455525" y="0"/>
              <a:ext cx="2432456"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de-DE" sz="1100" b="1" noProof="0" dirty="0">
                  <a:solidFill>
                    <a:schemeClr val="tx1"/>
                  </a:solidFill>
                  <a:latin typeface="+mn-lt"/>
                </a:rPr>
                <a:t>Hinweis zum </a:t>
              </a:r>
              <a:br>
                <a:rPr lang="de-DE" sz="1100" b="1" noProof="0" dirty="0">
                  <a:solidFill>
                    <a:schemeClr val="tx1"/>
                  </a:solidFill>
                  <a:latin typeface="+mn-lt"/>
                </a:rPr>
              </a:br>
              <a:r>
                <a:rPr lang="de-DE" sz="1100" b="1" noProof="0" dirty="0">
                  <a:solidFill>
                    <a:schemeClr val="tx1"/>
                  </a:solidFill>
                  <a:latin typeface="+mn-lt"/>
                </a:rPr>
                <a:t>schnellen Formatieren von Texten: </a:t>
              </a: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br>
                <a:rPr lang="de-DE" sz="1100" b="1" noProof="0" dirty="0">
                  <a:solidFill>
                    <a:schemeClr val="tx1"/>
                  </a:solidFill>
                  <a:latin typeface="+mn-lt"/>
                </a:rPr>
              </a:br>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r>
                <a:rPr lang="de-DE" sz="1100" b="1" noProof="0" dirty="0">
                  <a:solidFill>
                    <a:schemeClr val="tx1"/>
                  </a:solidFill>
                  <a:latin typeface="+mn-lt"/>
                </a:rPr>
                <a:t>Absatz-Zeichen</a:t>
              </a:r>
              <a:r>
                <a:rPr lang="de-DE" sz="1100" b="0" noProof="0" dirty="0">
                  <a:solidFill>
                    <a:schemeClr val="tx1"/>
                  </a:solidFill>
                  <a:latin typeface="+mn-lt"/>
                </a:rPr>
                <a:t> nutzen, um zwischen diesen vorprogrammierten Textebenen zu wechseln: </a:t>
              </a:r>
            </a:p>
          </p:txBody>
        </p:sp>
        <p:sp>
          <p:nvSpPr>
            <p:cNvPr id="42" name="Textplatzhalter 45">
              <a:extLst>
                <a:ext uri="{FF2B5EF4-FFF2-40B4-BE49-F238E27FC236}">
                  <a16:creationId xmlns:a16="http://schemas.microsoft.com/office/drawing/2014/main" id="{53D5DF8F-BCF0-4443-8DD8-247FCA7D00A8}"/>
                </a:ext>
              </a:extLst>
            </p:cNvPr>
            <p:cNvSpPr txBox="1">
              <a:spLocks/>
            </p:cNvSpPr>
            <p:nvPr/>
          </p:nvSpPr>
          <p:spPr>
            <a:xfrm>
              <a:off x="12623256" y="3829049"/>
              <a:ext cx="2097629" cy="2755900"/>
            </a:xfrm>
            <a:prstGeom prst="rect">
              <a:avLst/>
            </a:prstGeom>
            <a:solidFill>
              <a:schemeClr val="accent5"/>
            </a:solidFill>
          </p:spPr>
          <p:txBody>
            <a:bodyPr vert="horz" wrap="none"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25425" lvl="0" indent="-225425" algn="l" defTabSz="914400" rtl="0" eaLnBrk="1" latinLnBrk="0" hangingPunct="1">
                <a:lnSpc>
                  <a:spcPct val="100000"/>
                </a:lnSpc>
                <a:spcBef>
                  <a:spcPts val="0"/>
                </a:spcBef>
                <a:spcAft>
                  <a:spcPts val="800"/>
                </a:spcAft>
                <a:buClr>
                  <a:schemeClr val="bg1"/>
                </a:buClr>
                <a:buSzPct val="110000"/>
                <a:buFont typeface="Arial" panose="020B0604020202020204" pitchFamily="34" charset="0"/>
                <a:buChar char="•"/>
              </a:pPr>
              <a:r>
                <a:rPr lang="de-DE" sz="1400" kern="1200" noProof="0" dirty="0">
                  <a:solidFill>
                    <a:schemeClr val="bg1"/>
                  </a:solidFill>
                  <a:latin typeface="+mn-lt"/>
                  <a:ea typeface="+mn-ea"/>
                  <a:cs typeface="+mn-cs"/>
                </a:rPr>
                <a:t>Erste Ebene</a:t>
              </a:r>
            </a:p>
            <a:p>
              <a:pPr marL="457200" lvl="1" indent="-225425" algn="l" defTabSz="914400" rtl="0" eaLnBrk="1" latinLnBrk="0" hangingPunct="1">
                <a:lnSpc>
                  <a:spcPct val="100000"/>
                </a:lnSpc>
                <a:spcBef>
                  <a:spcPts val="0"/>
                </a:spcBef>
                <a:spcAft>
                  <a:spcPts val="800"/>
                </a:spcAft>
                <a:buClr>
                  <a:schemeClr val="bg1"/>
                </a:buClr>
                <a:buSzPct val="110000"/>
                <a:buFont typeface="+mj-lt"/>
                <a:buAutoNum type="arabicPeriod"/>
              </a:pPr>
              <a:r>
                <a:rPr lang="de-DE" sz="1400" kern="1200" noProof="0" dirty="0">
                  <a:solidFill>
                    <a:schemeClr val="bg1"/>
                  </a:solidFill>
                  <a:latin typeface="+mn-lt"/>
                  <a:ea typeface="+mn-ea"/>
                  <a:cs typeface="+mn-cs"/>
                </a:rPr>
                <a:t>Zweite Ebene</a:t>
              </a:r>
            </a:p>
            <a:p>
              <a:pPr marL="685800" lvl="2" indent="-225425" algn="l" defTabSz="914400" rtl="0" eaLnBrk="1" latinLnBrk="0" hangingPunct="1">
                <a:lnSpc>
                  <a:spcPct val="100000"/>
                </a:lnSpc>
                <a:spcBef>
                  <a:spcPts val="0"/>
                </a:spcBef>
                <a:spcAft>
                  <a:spcPts val="800"/>
                </a:spcAft>
                <a:buClr>
                  <a:schemeClr val="bg1"/>
                </a:buClr>
                <a:buSzPct val="110000"/>
                <a:buFont typeface="+mj-lt"/>
                <a:buAutoNum type="alphaLcPeriod"/>
              </a:pPr>
              <a:r>
                <a:rPr lang="de-DE" sz="1400" b="0" kern="1200" noProof="0" dirty="0">
                  <a:solidFill>
                    <a:schemeClr val="bg1"/>
                  </a:solidFill>
                  <a:latin typeface="+mn-lt"/>
                  <a:ea typeface="+mn-ea"/>
                  <a:cs typeface="+mn-cs"/>
                </a:rPr>
                <a:t>Dritte Ebene</a:t>
              </a:r>
            </a:p>
            <a:p>
              <a:pPr marL="0" lvl="3"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kern="1200" noProof="0" dirty="0">
                  <a:solidFill>
                    <a:schemeClr val="bg1"/>
                  </a:solidFill>
                  <a:latin typeface="+mn-lt"/>
                  <a:ea typeface="+mn-ea"/>
                  <a:cs typeface="+mn-cs"/>
                </a:rPr>
                <a:t>Vierte Ebene</a:t>
              </a:r>
            </a:p>
            <a:p>
              <a:pPr marL="0" lvl="4"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b="1" kern="1200" noProof="0" dirty="0">
                  <a:solidFill>
                    <a:schemeClr val="bg1"/>
                  </a:solidFill>
                  <a:latin typeface="+mn-lt"/>
                  <a:ea typeface="+mn-ea"/>
                  <a:cs typeface="+mn-cs"/>
                </a:rPr>
                <a:t>Fünfte Ebene</a:t>
              </a:r>
            </a:p>
          </p:txBody>
        </p:sp>
        <p:grpSp>
          <p:nvGrpSpPr>
            <p:cNvPr id="43" name="Group 42">
              <a:extLst>
                <a:ext uri="{FF2B5EF4-FFF2-40B4-BE49-F238E27FC236}">
                  <a16:creationId xmlns:a16="http://schemas.microsoft.com/office/drawing/2014/main" id="{69067FAE-855A-47B8-8239-4E24F09575C0}"/>
                </a:ext>
              </a:extLst>
            </p:cNvPr>
            <p:cNvGrpSpPr/>
            <p:nvPr/>
          </p:nvGrpSpPr>
          <p:grpSpPr>
            <a:xfrm>
              <a:off x="12656430" y="1089171"/>
              <a:ext cx="1584137" cy="987131"/>
              <a:chOff x="3838574" y="-1487553"/>
              <a:chExt cx="1819275" cy="1133654"/>
            </a:xfrm>
          </p:grpSpPr>
          <p:pic>
            <p:nvPicPr>
              <p:cNvPr id="50" name="Picture 49">
                <a:extLst>
                  <a:ext uri="{FF2B5EF4-FFF2-40B4-BE49-F238E27FC236}">
                    <a16:creationId xmlns:a16="http://schemas.microsoft.com/office/drawing/2014/main" id="{80991B07-DEF8-4372-82D9-CD3BE7B9A2E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838574" y="-1487553"/>
                <a:ext cx="1819275" cy="1133654"/>
              </a:xfrm>
              <a:prstGeom prst="rect">
                <a:avLst/>
              </a:prstGeom>
              <a:ln>
                <a:solidFill>
                  <a:schemeClr val="tx1"/>
                </a:solidFill>
              </a:ln>
            </p:spPr>
          </p:pic>
          <p:pic>
            <p:nvPicPr>
              <p:cNvPr id="51" name="Picture 50">
                <a:extLst>
                  <a:ext uri="{FF2B5EF4-FFF2-40B4-BE49-F238E27FC236}">
                    <a16:creationId xmlns:a16="http://schemas.microsoft.com/office/drawing/2014/main" id="{98271B0E-4EF4-4B23-95F6-D8AF2F25AA3A}"/>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838574" y="-1197759"/>
                <a:ext cx="1758949" cy="843860"/>
              </a:xfrm>
              <a:prstGeom prst="rect">
                <a:avLst/>
              </a:prstGeom>
            </p:spPr>
          </p:pic>
          <p:sp>
            <p:nvSpPr>
              <p:cNvPr id="52" name="Rectangle 51">
                <a:extLst>
                  <a:ext uri="{FF2B5EF4-FFF2-40B4-BE49-F238E27FC236}">
                    <a16:creationId xmlns:a16="http://schemas.microsoft.com/office/drawing/2014/main" id="{D148A97A-F582-4CC0-9F22-FD2779FFFC81}"/>
                  </a:ext>
                </a:extLst>
              </p:cNvPr>
              <p:cNvSpPr/>
              <p:nvPr userDrawn="1"/>
            </p:nvSpPr>
            <p:spPr>
              <a:xfrm>
                <a:off x="5517931" y="-1487553"/>
                <a:ext cx="139917" cy="983056"/>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grpSp>
        <p:sp>
          <p:nvSpPr>
            <p:cNvPr id="44" name="Oval 43">
              <a:extLst>
                <a:ext uri="{FF2B5EF4-FFF2-40B4-BE49-F238E27FC236}">
                  <a16:creationId xmlns:a16="http://schemas.microsoft.com/office/drawing/2014/main" id="{10AD56AC-491C-4998-9F33-E98D74815479}"/>
                </a:ext>
              </a:extLst>
            </p:cNvPr>
            <p:cNvSpPr/>
            <p:nvPr/>
          </p:nvSpPr>
          <p:spPr>
            <a:xfrm>
              <a:off x="13370810" y="1243451"/>
              <a:ext cx="407914" cy="407914"/>
            </a:xfrm>
            <a:prstGeom prst="ellipse">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sp>
          <p:nvSpPr>
            <p:cNvPr id="45" name="Arc 44">
              <a:extLst>
                <a:ext uri="{FF2B5EF4-FFF2-40B4-BE49-F238E27FC236}">
                  <a16:creationId xmlns:a16="http://schemas.microsoft.com/office/drawing/2014/main" id="{D5304B9F-9EFA-456C-81C7-1DFADCA9DFBD}"/>
                </a:ext>
              </a:extLst>
            </p:cNvPr>
            <p:cNvSpPr/>
            <p:nvPr/>
          </p:nvSpPr>
          <p:spPr>
            <a:xfrm rot="15649404">
              <a:off x="12562252" y="1598191"/>
              <a:ext cx="2019300" cy="1666765"/>
            </a:xfrm>
            <a:prstGeom prst="arc">
              <a:avLst>
                <a:gd name="adj1" fmla="val 16676483"/>
                <a:gd name="adj2" fmla="val 0"/>
              </a:avLst>
            </a:prstGeom>
            <a:ln w="28575">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100" noProof="0" dirty="0">
                <a:latin typeface="+mn-lt"/>
              </a:endParaRPr>
            </a:p>
          </p:txBody>
        </p:sp>
        <p:sp>
          <p:nvSpPr>
            <p:cNvPr id="46" name="TextBox 45">
              <a:extLst>
                <a:ext uri="{FF2B5EF4-FFF2-40B4-BE49-F238E27FC236}">
                  <a16:creationId xmlns:a16="http://schemas.microsoft.com/office/drawing/2014/main" id="{9B4D200C-4CE1-4C96-9757-7E4D5876287A}"/>
                </a:ext>
              </a:extLst>
            </p:cNvPr>
            <p:cNvSpPr txBox="1"/>
            <p:nvPr/>
          </p:nvSpPr>
          <p:spPr>
            <a:xfrm>
              <a:off x="12666422"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Start</a:t>
              </a:r>
            </a:p>
          </p:txBody>
        </p:sp>
        <p:sp>
          <p:nvSpPr>
            <p:cNvPr id="47" name="TextBox 46">
              <a:extLst>
                <a:ext uri="{FF2B5EF4-FFF2-40B4-BE49-F238E27FC236}">
                  <a16:creationId xmlns:a16="http://schemas.microsoft.com/office/drawing/2014/main" id="{1AEF2D7B-3DDF-42FA-863A-C00FA1EB4B4D}"/>
                </a:ext>
              </a:extLst>
            </p:cNvPr>
            <p:cNvSpPr txBox="1"/>
            <p:nvPr/>
          </p:nvSpPr>
          <p:spPr>
            <a:xfrm>
              <a:off x="13167679"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infügen</a:t>
              </a:r>
            </a:p>
          </p:txBody>
        </p:sp>
        <p:sp>
          <p:nvSpPr>
            <p:cNvPr id="48" name="TextBox 47">
              <a:extLst>
                <a:ext uri="{FF2B5EF4-FFF2-40B4-BE49-F238E27FC236}">
                  <a16:creationId xmlns:a16="http://schemas.microsoft.com/office/drawing/2014/main" id="{12B3CEAD-1268-41D4-A8F8-D438A581624F}"/>
                </a:ext>
              </a:extLst>
            </p:cNvPr>
            <p:cNvSpPr txBox="1"/>
            <p:nvPr/>
          </p:nvSpPr>
          <p:spPr>
            <a:xfrm>
              <a:off x="13706533"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ntwurf</a:t>
              </a:r>
            </a:p>
          </p:txBody>
        </p:sp>
        <p:sp>
          <p:nvSpPr>
            <p:cNvPr id="49" name="TextBox 48">
              <a:extLst>
                <a:ext uri="{FF2B5EF4-FFF2-40B4-BE49-F238E27FC236}">
                  <a16:creationId xmlns:a16="http://schemas.microsoft.com/office/drawing/2014/main" id="{C9F9ED9E-2495-4356-B6CC-749332EB7487}"/>
                </a:ext>
              </a:extLst>
            </p:cNvPr>
            <p:cNvSpPr txBox="1"/>
            <p:nvPr/>
          </p:nvSpPr>
          <p:spPr>
            <a:xfrm>
              <a:off x="13662625" y="1929226"/>
              <a:ext cx="546374" cy="136662"/>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Absatz</a:t>
              </a:r>
            </a:p>
          </p:txBody>
        </p:sp>
      </p:grpSp>
    </p:spTree>
    <p:extLst>
      <p:ext uri="{BB962C8B-B14F-4D97-AF65-F5344CB8AC3E}">
        <p14:creationId xmlns:p14="http://schemas.microsoft.com/office/powerpoint/2010/main" val="939552393"/>
      </p:ext>
    </p:extLst>
  </p:cSld>
  <p:clrMapOvr>
    <a:masterClrMapping/>
  </p:clrMapOvr>
  <p:extLst>
    <p:ext uri="{DCECCB84-F9BA-43D5-87BE-67443E8EF086}">
      <p15:sldGuideLst xmlns:p15="http://schemas.microsoft.com/office/powerpoint/2012/main">
        <p15:guide id="1" pos="231" userDrawn="1">
          <p15:clr>
            <a:srgbClr val="F26B43"/>
          </p15:clr>
        </p15:guide>
        <p15:guide id="2" orient="horz" pos="648" userDrawn="1">
          <p15:clr>
            <a:srgbClr val="F26B43"/>
          </p15:clr>
        </p15:guide>
        <p15:guide id="3" orient="horz" pos="3111" userDrawn="1">
          <p15:clr>
            <a:srgbClr val="F26B43"/>
          </p15:clr>
        </p15:guide>
        <p15:guide id="4" pos="5529" userDrawn="1">
          <p15:clr>
            <a:srgbClr val="F26B43"/>
          </p15:clr>
        </p15:guide>
        <p15:guide id="5" orient="horz" pos="389"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mit Text  / dunkelgrün mit weiß">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B55E966-152B-4155-BC8B-37B3DB47884B}"/>
              </a:ext>
            </a:extLst>
          </p:cNvPr>
          <p:cNvGraphicFramePr>
            <a:graphicFrameLocks noChangeAspect="1"/>
          </p:cNvGraphicFramePr>
          <p:nvPr userDrawn="1">
            <p:custDataLst>
              <p:tags r:id="rId2"/>
            </p:custDataLst>
            <p:extLst>
              <p:ext uri="{D42A27DB-BD31-4B8C-83A1-F6EECF244321}">
                <p14:modId xmlns:p14="http://schemas.microsoft.com/office/powerpoint/2010/main" val="4178216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025"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FB55E966-152B-4155-BC8B-37B3DB4788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605D5426-1391-4BA2-884D-0F59552042BD}"/>
              </a:ext>
            </a:extLst>
          </p:cNvPr>
          <p:cNvSpPr/>
          <p:nvPr userDrawn="1"/>
        </p:nvSpPr>
        <p:spPr>
          <a:xfrm>
            <a:off x="0" y="617537"/>
            <a:ext cx="9144000" cy="452596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rtl="0"/>
            <a:endParaRPr lang="de-DE" sz="1400" dirty="0">
              <a:solidFill>
                <a:schemeClr val="bg1"/>
              </a:solidFill>
            </a:endParaRPr>
          </a:p>
        </p:txBody>
      </p:sp>
      <p:sp>
        <p:nvSpPr>
          <p:cNvPr id="3" name="Rectangle 2">
            <a:extLst>
              <a:ext uri="{FF2B5EF4-FFF2-40B4-BE49-F238E27FC236}">
                <a16:creationId xmlns:a16="http://schemas.microsoft.com/office/drawing/2014/main" id="{C28AF389-ECDB-470C-93B1-CE94D587FFAC}"/>
              </a:ext>
            </a:extLst>
          </p:cNvPr>
          <p:cNvSpPr/>
          <p:nvPr userDrawn="1"/>
        </p:nvSpPr>
        <p:spPr>
          <a:xfrm>
            <a:off x="366712" y="1028699"/>
            <a:ext cx="8410576" cy="3910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solidFill>
                <a:schemeClr val="tx1"/>
              </a:solidFill>
            </a:endParaRPr>
          </a:p>
        </p:txBody>
      </p:sp>
      <p:sp>
        <p:nvSpPr>
          <p:cNvPr id="2" name="Title 1">
            <a:extLst>
              <a:ext uri="{FF2B5EF4-FFF2-40B4-BE49-F238E27FC236}">
                <a16:creationId xmlns:a16="http://schemas.microsoft.com/office/drawing/2014/main" id="{FA37A3E9-4AC7-40AB-9175-27E504FE91D6}"/>
              </a:ext>
            </a:extLst>
          </p:cNvPr>
          <p:cNvSpPr>
            <a:spLocks noGrp="1"/>
          </p:cNvSpPr>
          <p:nvPr>
            <p:ph type="title" hasCustomPrompt="1"/>
          </p:nvPr>
        </p:nvSpPr>
        <p:spPr/>
        <p:txBody>
          <a:bodyPr vert="horz"/>
          <a:lstStyle>
            <a:lvl1pPr rtl="0">
              <a:defRPr/>
            </a:lvl1pPr>
          </a:lstStyle>
          <a:p>
            <a:r>
              <a:rPr lang="de-DE" noProof="0" dirty="0"/>
              <a:t>Titel </a:t>
            </a:r>
            <a:br>
              <a:rPr lang="de-DE" noProof="0" dirty="0"/>
            </a:br>
            <a:r>
              <a:rPr lang="de-DE" noProof="0" dirty="0"/>
              <a:t>hinzufügen</a:t>
            </a:r>
            <a:endParaRPr lang="de-DE" dirty="0"/>
          </a:p>
        </p:txBody>
      </p:sp>
      <p:sp>
        <p:nvSpPr>
          <p:cNvPr id="6" name="Slide Number Placeholder 5">
            <a:extLst>
              <a:ext uri="{FF2B5EF4-FFF2-40B4-BE49-F238E27FC236}">
                <a16:creationId xmlns:a16="http://schemas.microsoft.com/office/drawing/2014/main" id="{944DA456-96F7-4E88-B5F0-01FD9C0599E9}"/>
              </a:ext>
            </a:extLst>
          </p:cNvPr>
          <p:cNvSpPr>
            <a:spLocks noGrp="1"/>
          </p:cNvSpPr>
          <p:nvPr>
            <p:ph type="sldNum" sz="quarter" idx="12"/>
          </p:nvPr>
        </p:nvSpPr>
        <p:spPr/>
        <p:txBody>
          <a:bodyPr/>
          <a:lstStyle>
            <a:lvl1pPr rtl="0">
              <a:defRPr>
                <a:solidFill>
                  <a:schemeClr val="bg1"/>
                </a:solidFill>
              </a:defRPr>
            </a:lvl1pPr>
          </a:lstStyle>
          <a:p>
            <a:fld id="{61A237A4-5F56-495D-ADE9-563CDE6DCB6B}" type="slidenum">
              <a:rPr lang="de-DE" smtClean="0"/>
              <a:pPr/>
              <a:t>‹Nr.›</a:t>
            </a:fld>
            <a:endParaRPr lang="de-DE" dirty="0"/>
          </a:p>
        </p:txBody>
      </p:sp>
      <p:sp>
        <p:nvSpPr>
          <p:cNvPr id="10" name="Text Placeholder 9">
            <a:extLst>
              <a:ext uri="{FF2B5EF4-FFF2-40B4-BE49-F238E27FC236}">
                <a16:creationId xmlns:a16="http://schemas.microsoft.com/office/drawing/2014/main" id="{56B40821-1E4B-4B1A-A4EC-67ED383914AF}"/>
              </a:ext>
            </a:extLst>
          </p:cNvPr>
          <p:cNvSpPr>
            <a:spLocks noGrp="1"/>
          </p:cNvSpPr>
          <p:nvPr>
            <p:ph type="body" sz="quarter" idx="13" hasCustomPrompt="1"/>
          </p:nvPr>
        </p:nvSpPr>
        <p:spPr>
          <a:xfrm>
            <a:off x="731838" y="1233489"/>
            <a:ext cx="7681537" cy="3498850"/>
          </a:xfrm>
        </p:spPr>
        <p:txBody>
          <a:bodyPr/>
          <a:lstStyle>
            <a:lvl1pPr rtl="0">
              <a:buClr>
                <a:schemeClr val="accent6"/>
              </a:buClr>
              <a:defRPr>
                <a:solidFill>
                  <a:schemeClr val="tx1"/>
                </a:solidFill>
              </a:defRPr>
            </a:lvl1pPr>
            <a:lvl2pPr rtl="0">
              <a:buClr>
                <a:schemeClr val="accent6"/>
              </a:buClr>
              <a:defRPr>
                <a:solidFill>
                  <a:schemeClr val="tx1"/>
                </a:solidFill>
              </a:defRPr>
            </a:lvl2pPr>
            <a:lvl3pPr rtl="0">
              <a:buClr>
                <a:schemeClr val="accent6"/>
              </a:buClr>
              <a:defRPr>
                <a:solidFill>
                  <a:schemeClr val="tx1"/>
                </a:solidFill>
              </a:defRPr>
            </a:lvl3pPr>
            <a:lvl4pPr>
              <a:defRPr>
                <a:solidFill>
                  <a:schemeClr val="tx1"/>
                </a:solidFill>
              </a:defRPr>
            </a:lvl4pPr>
            <a:lvl5pPr>
              <a:defRPr>
                <a:solidFill>
                  <a:schemeClr val="tx1"/>
                </a:solidFill>
              </a:defRPr>
            </a:lvl5pPr>
          </a:lstStyle>
          <a:p>
            <a:pPr lvl="0"/>
            <a:r>
              <a:rPr lang="de-DE" noProof="0" dirty="0"/>
              <a:t>Erste Ebene</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0" name="Freeform: Shape 19">
            <a:extLst>
              <a:ext uri="{FF2B5EF4-FFF2-40B4-BE49-F238E27FC236}">
                <a16:creationId xmlns:a16="http://schemas.microsoft.com/office/drawing/2014/main" id="{10E6F3C5-AC13-4A00-94F9-5D5B5A4EC27C}"/>
              </a:ext>
            </a:extLst>
          </p:cNvPr>
          <p:cNvSpPr/>
          <p:nvPr/>
        </p:nvSpPr>
        <p:spPr>
          <a:xfrm flipV="1">
            <a:off x="8213729" y="337025"/>
            <a:ext cx="563111" cy="562570"/>
          </a:xfrm>
          <a:custGeom>
            <a:avLst/>
            <a:gdLst>
              <a:gd name="connsiteX0" fmla="*/ 281556 w 563111"/>
              <a:gd name="connsiteY0" fmla="*/ 102334 h 562570"/>
              <a:gd name="connsiteX1" fmla="*/ 332725 w 563111"/>
              <a:gd name="connsiteY1" fmla="*/ 51167 h 562570"/>
              <a:gd name="connsiteX2" fmla="*/ 281556 w 563111"/>
              <a:gd name="connsiteY2" fmla="*/ 0 h 562570"/>
              <a:gd name="connsiteX3" fmla="*/ 230389 w 563111"/>
              <a:gd name="connsiteY3" fmla="*/ 51167 h 562570"/>
              <a:gd name="connsiteX4" fmla="*/ 281556 w 563111"/>
              <a:gd name="connsiteY4" fmla="*/ 102334 h 562570"/>
              <a:gd name="connsiteX5" fmla="*/ 511944 w 563111"/>
              <a:gd name="connsiteY5" fmla="*/ 332451 h 562570"/>
              <a:gd name="connsiteX6" fmla="*/ 563111 w 563111"/>
              <a:gd name="connsiteY6" fmla="*/ 281284 h 562570"/>
              <a:gd name="connsiteX7" fmla="*/ 511944 w 563111"/>
              <a:gd name="connsiteY7" fmla="*/ 230117 h 562570"/>
              <a:gd name="connsiteX8" fmla="*/ 460777 w 563111"/>
              <a:gd name="connsiteY8" fmla="*/ 281284 h 562570"/>
              <a:gd name="connsiteX9" fmla="*/ 511944 w 563111"/>
              <a:gd name="connsiteY9" fmla="*/ 332451 h 562570"/>
              <a:gd name="connsiteX10" fmla="*/ 51167 w 563111"/>
              <a:gd name="connsiteY10" fmla="*/ 332451 h 562570"/>
              <a:gd name="connsiteX11" fmla="*/ 102334 w 563111"/>
              <a:gd name="connsiteY11" fmla="*/ 281284 h 562570"/>
              <a:gd name="connsiteX12" fmla="*/ 51167 w 563111"/>
              <a:gd name="connsiteY12" fmla="*/ 230117 h 562570"/>
              <a:gd name="connsiteX13" fmla="*/ 0 w 563111"/>
              <a:gd name="connsiteY13" fmla="*/ 281284 h 562570"/>
              <a:gd name="connsiteX14" fmla="*/ 51167 w 563111"/>
              <a:gd name="connsiteY14" fmla="*/ 332451 h 562570"/>
              <a:gd name="connsiteX15" fmla="*/ 281627 w 563111"/>
              <a:gd name="connsiteY15" fmla="*/ 441199 h 562570"/>
              <a:gd name="connsiteX16" fmla="*/ 332796 w 563111"/>
              <a:gd name="connsiteY16" fmla="*/ 390034 h 562570"/>
              <a:gd name="connsiteX17" fmla="*/ 332796 w 563111"/>
              <a:gd name="connsiteY17" fmla="*/ 383642 h 562570"/>
              <a:gd name="connsiteX18" fmla="*/ 383965 w 563111"/>
              <a:gd name="connsiteY18" fmla="*/ 332473 h 562570"/>
              <a:gd name="connsiteX19" fmla="*/ 390355 w 563111"/>
              <a:gd name="connsiteY19" fmla="*/ 332473 h 562570"/>
              <a:gd name="connsiteX20" fmla="*/ 441524 w 563111"/>
              <a:gd name="connsiteY20" fmla="*/ 281306 h 562570"/>
              <a:gd name="connsiteX21" fmla="*/ 390355 w 563111"/>
              <a:gd name="connsiteY21" fmla="*/ 230139 h 562570"/>
              <a:gd name="connsiteX22" fmla="*/ 383965 w 563111"/>
              <a:gd name="connsiteY22" fmla="*/ 230139 h 562570"/>
              <a:gd name="connsiteX23" fmla="*/ 332796 w 563111"/>
              <a:gd name="connsiteY23" fmla="*/ 178972 h 562570"/>
              <a:gd name="connsiteX24" fmla="*/ 332796 w 563111"/>
              <a:gd name="connsiteY24" fmla="*/ 172580 h 562570"/>
              <a:gd name="connsiteX25" fmla="*/ 281627 w 563111"/>
              <a:gd name="connsiteY25" fmla="*/ 121411 h 562570"/>
              <a:gd name="connsiteX26" fmla="*/ 230460 w 563111"/>
              <a:gd name="connsiteY26" fmla="*/ 172580 h 562570"/>
              <a:gd name="connsiteX27" fmla="*/ 230460 w 563111"/>
              <a:gd name="connsiteY27" fmla="*/ 178972 h 562570"/>
              <a:gd name="connsiteX28" fmla="*/ 179293 w 563111"/>
              <a:gd name="connsiteY28" fmla="*/ 230139 h 562570"/>
              <a:gd name="connsiteX29" fmla="*/ 172896 w 563111"/>
              <a:gd name="connsiteY29" fmla="*/ 230139 h 562570"/>
              <a:gd name="connsiteX30" fmla="*/ 121729 w 563111"/>
              <a:gd name="connsiteY30" fmla="*/ 281306 h 562570"/>
              <a:gd name="connsiteX31" fmla="*/ 172896 w 563111"/>
              <a:gd name="connsiteY31" fmla="*/ 332473 h 562570"/>
              <a:gd name="connsiteX32" fmla="*/ 179293 w 563111"/>
              <a:gd name="connsiteY32" fmla="*/ 332475 h 562570"/>
              <a:gd name="connsiteX33" fmla="*/ 230460 w 563111"/>
              <a:gd name="connsiteY33" fmla="*/ 383642 h 562570"/>
              <a:gd name="connsiteX34" fmla="*/ 230460 w 563111"/>
              <a:gd name="connsiteY34" fmla="*/ 390034 h 562570"/>
              <a:gd name="connsiteX35" fmla="*/ 281627 w 563111"/>
              <a:gd name="connsiteY35" fmla="*/ 441199 h 562570"/>
              <a:gd name="connsiteX36" fmla="*/ 281556 w 563111"/>
              <a:gd name="connsiteY36" fmla="*/ 562570 h 562570"/>
              <a:gd name="connsiteX37" fmla="*/ 332725 w 563111"/>
              <a:gd name="connsiteY37" fmla="*/ 511403 h 562570"/>
              <a:gd name="connsiteX38" fmla="*/ 281556 w 563111"/>
              <a:gd name="connsiteY38" fmla="*/ 460236 h 562570"/>
              <a:gd name="connsiteX39" fmla="*/ 230389 w 563111"/>
              <a:gd name="connsiteY39" fmla="*/ 511403 h 562570"/>
              <a:gd name="connsiteX40" fmla="*/ 281556 w 563111"/>
              <a:gd name="connsiteY40" fmla="*/ 562570 h 562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63111" h="562570">
                <a:moveTo>
                  <a:pt x="281556" y="102334"/>
                </a:moveTo>
                <a:cubicBezTo>
                  <a:pt x="309819" y="102334"/>
                  <a:pt x="332725" y="79425"/>
                  <a:pt x="332725" y="51167"/>
                </a:cubicBezTo>
                <a:cubicBezTo>
                  <a:pt x="332725" y="22906"/>
                  <a:pt x="309819" y="0"/>
                  <a:pt x="281556" y="0"/>
                </a:cubicBezTo>
                <a:cubicBezTo>
                  <a:pt x="253298" y="0"/>
                  <a:pt x="230389" y="22906"/>
                  <a:pt x="230389" y="51167"/>
                </a:cubicBezTo>
                <a:cubicBezTo>
                  <a:pt x="230389" y="79425"/>
                  <a:pt x="253298" y="102334"/>
                  <a:pt x="281556" y="102334"/>
                </a:cubicBezTo>
                <a:close/>
                <a:moveTo>
                  <a:pt x="511944" y="332451"/>
                </a:moveTo>
                <a:cubicBezTo>
                  <a:pt x="540205" y="332451"/>
                  <a:pt x="563111" y="309542"/>
                  <a:pt x="563111" y="281284"/>
                </a:cubicBezTo>
                <a:cubicBezTo>
                  <a:pt x="563111" y="253023"/>
                  <a:pt x="540205" y="230117"/>
                  <a:pt x="511944" y="230117"/>
                </a:cubicBezTo>
                <a:cubicBezTo>
                  <a:pt x="483686" y="230117"/>
                  <a:pt x="460777" y="253023"/>
                  <a:pt x="460777" y="281284"/>
                </a:cubicBezTo>
                <a:cubicBezTo>
                  <a:pt x="460777" y="309542"/>
                  <a:pt x="483686" y="332451"/>
                  <a:pt x="511944" y="332451"/>
                </a:cubicBezTo>
                <a:close/>
                <a:moveTo>
                  <a:pt x="51167" y="332451"/>
                </a:moveTo>
                <a:cubicBezTo>
                  <a:pt x="79428" y="332451"/>
                  <a:pt x="102334" y="309542"/>
                  <a:pt x="102334" y="281284"/>
                </a:cubicBezTo>
                <a:cubicBezTo>
                  <a:pt x="102334" y="253023"/>
                  <a:pt x="79428" y="230117"/>
                  <a:pt x="51167" y="230117"/>
                </a:cubicBezTo>
                <a:cubicBezTo>
                  <a:pt x="22909" y="230117"/>
                  <a:pt x="0" y="253023"/>
                  <a:pt x="0" y="281284"/>
                </a:cubicBezTo>
                <a:cubicBezTo>
                  <a:pt x="0" y="309542"/>
                  <a:pt x="22909" y="332451"/>
                  <a:pt x="51167" y="332451"/>
                </a:cubicBezTo>
                <a:close/>
                <a:moveTo>
                  <a:pt x="281627" y="441199"/>
                </a:moveTo>
                <a:cubicBezTo>
                  <a:pt x="309890" y="441199"/>
                  <a:pt x="332796" y="418290"/>
                  <a:pt x="332796" y="390034"/>
                </a:cubicBezTo>
                <a:lnTo>
                  <a:pt x="332796" y="383642"/>
                </a:lnTo>
                <a:cubicBezTo>
                  <a:pt x="332796" y="355379"/>
                  <a:pt x="355704" y="332473"/>
                  <a:pt x="383965" y="332473"/>
                </a:cubicBezTo>
                <a:lnTo>
                  <a:pt x="390355" y="332473"/>
                </a:lnTo>
                <a:cubicBezTo>
                  <a:pt x="418616" y="332473"/>
                  <a:pt x="441524" y="309567"/>
                  <a:pt x="441524" y="281306"/>
                </a:cubicBezTo>
                <a:cubicBezTo>
                  <a:pt x="441524" y="253045"/>
                  <a:pt x="418616" y="230139"/>
                  <a:pt x="390355" y="230139"/>
                </a:cubicBezTo>
                <a:lnTo>
                  <a:pt x="383965" y="230139"/>
                </a:lnTo>
                <a:cubicBezTo>
                  <a:pt x="355704" y="230139"/>
                  <a:pt x="332796" y="207233"/>
                  <a:pt x="332796" y="178972"/>
                </a:cubicBezTo>
                <a:lnTo>
                  <a:pt x="332796" y="172580"/>
                </a:lnTo>
                <a:cubicBezTo>
                  <a:pt x="332796" y="144317"/>
                  <a:pt x="309890" y="121411"/>
                  <a:pt x="281627" y="121411"/>
                </a:cubicBezTo>
                <a:cubicBezTo>
                  <a:pt x="253371" y="121411"/>
                  <a:pt x="230460" y="144317"/>
                  <a:pt x="230460" y="172580"/>
                </a:cubicBezTo>
                <a:lnTo>
                  <a:pt x="230460" y="178972"/>
                </a:lnTo>
                <a:cubicBezTo>
                  <a:pt x="230460" y="207233"/>
                  <a:pt x="207553" y="230139"/>
                  <a:pt x="179293" y="230139"/>
                </a:cubicBezTo>
                <a:lnTo>
                  <a:pt x="172896" y="230139"/>
                </a:lnTo>
                <a:cubicBezTo>
                  <a:pt x="144638" y="230139"/>
                  <a:pt x="121729" y="253045"/>
                  <a:pt x="121729" y="281306"/>
                </a:cubicBezTo>
                <a:cubicBezTo>
                  <a:pt x="121729" y="309567"/>
                  <a:pt x="144638" y="332473"/>
                  <a:pt x="172896" y="332473"/>
                </a:cubicBezTo>
                <a:lnTo>
                  <a:pt x="179293" y="332475"/>
                </a:lnTo>
                <a:cubicBezTo>
                  <a:pt x="207553" y="332475"/>
                  <a:pt x="230460" y="355379"/>
                  <a:pt x="230460" y="383642"/>
                </a:cubicBezTo>
                <a:lnTo>
                  <a:pt x="230460" y="390034"/>
                </a:lnTo>
                <a:cubicBezTo>
                  <a:pt x="230460" y="418290"/>
                  <a:pt x="253371" y="441199"/>
                  <a:pt x="281627" y="441199"/>
                </a:cubicBezTo>
                <a:close/>
                <a:moveTo>
                  <a:pt x="281556" y="562570"/>
                </a:moveTo>
                <a:cubicBezTo>
                  <a:pt x="309819" y="562570"/>
                  <a:pt x="332725" y="539661"/>
                  <a:pt x="332725" y="511403"/>
                </a:cubicBezTo>
                <a:cubicBezTo>
                  <a:pt x="332725" y="483142"/>
                  <a:pt x="309819" y="460236"/>
                  <a:pt x="281556" y="460236"/>
                </a:cubicBezTo>
                <a:cubicBezTo>
                  <a:pt x="253298" y="460236"/>
                  <a:pt x="230389" y="483142"/>
                  <a:pt x="230389" y="511403"/>
                </a:cubicBezTo>
                <a:cubicBezTo>
                  <a:pt x="230389" y="539661"/>
                  <a:pt x="253298" y="562570"/>
                  <a:pt x="281556" y="562570"/>
                </a:cubicBezTo>
                <a:close/>
              </a:path>
            </a:pathLst>
          </a:custGeom>
          <a:solidFill>
            <a:schemeClr val="accent6"/>
          </a:solidFill>
          <a:ln w="2251" cap="flat">
            <a:noFill/>
            <a:prstDash val="solid"/>
            <a:miter/>
          </a:ln>
        </p:spPr>
        <p:txBody>
          <a:bodyPr rtlCol="0" anchor="ctr"/>
          <a:lstStyle/>
          <a:p>
            <a:pPr rtl="0"/>
            <a:endParaRPr lang="de-DE" dirty="0"/>
          </a:p>
        </p:txBody>
      </p:sp>
      <p:sp>
        <p:nvSpPr>
          <p:cNvPr id="9" name="Text Placeholder 9">
            <a:extLst>
              <a:ext uri="{FF2B5EF4-FFF2-40B4-BE49-F238E27FC236}">
                <a16:creationId xmlns:a16="http://schemas.microsoft.com/office/drawing/2014/main" id="{673CB77D-7EF9-4B57-BD30-E91A18ABF470}"/>
              </a:ext>
            </a:extLst>
          </p:cNvPr>
          <p:cNvSpPr>
            <a:spLocks noGrp="1"/>
          </p:cNvSpPr>
          <p:nvPr>
            <p:ph type="body" sz="quarter" idx="14" hasCustomPrompt="1"/>
          </p:nvPr>
        </p:nvSpPr>
        <p:spPr>
          <a:xfrm>
            <a:off x="1098550" y="4938713"/>
            <a:ext cx="7678290" cy="204787"/>
          </a:xfrm>
        </p:spPr>
        <p:txBody>
          <a:bodyPr anchor="ctr">
            <a:noAutofit/>
          </a:bodyPr>
          <a:lstStyle>
            <a:lvl1pPr marL="0" indent="0" rtl="0">
              <a:spcAft>
                <a:spcPts val="0"/>
              </a:spcAft>
              <a:buNone/>
              <a:defRPr sz="600">
                <a:solidFill>
                  <a:schemeClr val="bg1"/>
                </a:solidFill>
              </a:defRPr>
            </a:lvl1pPr>
            <a:lvl2pPr marL="0" indent="0">
              <a:spcAft>
                <a:spcPts val="0"/>
              </a:spcAft>
              <a:buFont typeface="Arial" panose="020B0604020202020204" pitchFamily="34" charset="0"/>
              <a:buNone/>
              <a:defRPr sz="600"/>
            </a:lvl2pPr>
            <a:lvl3pPr marL="0" indent="0">
              <a:spcAft>
                <a:spcPts val="0"/>
              </a:spcAft>
              <a:buFont typeface="Arial" panose="020B0604020202020204" pitchFamily="34" charset="0"/>
              <a:buNone/>
              <a:defRPr sz="600"/>
            </a:lvl3pPr>
          </a:lstStyle>
          <a:p>
            <a:pPr lvl="0"/>
            <a:r>
              <a:rPr lang="de-DE" noProof="0" dirty="0"/>
              <a:t>Quelle: </a:t>
            </a:r>
          </a:p>
        </p:txBody>
      </p:sp>
      <p:grpSp>
        <p:nvGrpSpPr>
          <p:cNvPr id="13" name="Group 12">
            <a:extLst>
              <a:ext uri="{FF2B5EF4-FFF2-40B4-BE49-F238E27FC236}">
                <a16:creationId xmlns:a16="http://schemas.microsoft.com/office/drawing/2014/main" id="{1D88C260-26D7-42C2-8A65-72363217DA44}"/>
              </a:ext>
            </a:extLst>
          </p:cNvPr>
          <p:cNvGrpSpPr/>
          <p:nvPr userDrawn="1"/>
        </p:nvGrpSpPr>
        <p:grpSpPr>
          <a:xfrm>
            <a:off x="9507912" y="0"/>
            <a:ext cx="1826837" cy="5143500"/>
            <a:chOff x="12455525" y="0"/>
            <a:chExt cx="2432456" cy="6858000"/>
          </a:xfrm>
        </p:grpSpPr>
        <p:sp>
          <p:nvSpPr>
            <p:cNvPr id="14" name="Rectangle 13">
              <a:extLst>
                <a:ext uri="{FF2B5EF4-FFF2-40B4-BE49-F238E27FC236}">
                  <a16:creationId xmlns:a16="http://schemas.microsoft.com/office/drawing/2014/main" id="{76C7C196-E647-4FB7-8ECA-0BA92B4F90A2}"/>
                </a:ext>
              </a:extLst>
            </p:cNvPr>
            <p:cNvSpPr/>
            <p:nvPr/>
          </p:nvSpPr>
          <p:spPr>
            <a:xfrm>
              <a:off x="12455525" y="0"/>
              <a:ext cx="2432456" cy="6858000"/>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08000" rtlCol="0" anchor="t"/>
            <a:lstStyle/>
            <a:p>
              <a:pPr algn="l" rtl="0"/>
              <a:r>
                <a:rPr lang="de-DE" sz="1100" b="1" noProof="0" dirty="0">
                  <a:solidFill>
                    <a:schemeClr val="tx1"/>
                  </a:solidFill>
                  <a:latin typeface="+mn-lt"/>
                </a:rPr>
                <a:t>Hinweis zum </a:t>
              </a:r>
              <a:br>
                <a:rPr lang="de-DE" sz="1100" b="1" noProof="0" dirty="0">
                  <a:solidFill>
                    <a:schemeClr val="tx1"/>
                  </a:solidFill>
                  <a:latin typeface="+mn-lt"/>
                </a:rPr>
              </a:br>
              <a:r>
                <a:rPr lang="de-DE" sz="1100" b="1" noProof="0" dirty="0">
                  <a:solidFill>
                    <a:schemeClr val="tx1"/>
                  </a:solidFill>
                  <a:latin typeface="+mn-lt"/>
                </a:rPr>
                <a:t>schnellen Formatieren von Texten: </a:t>
              </a: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br>
                <a:rPr lang="de-DE" sz="1100" b="1" noProof="0" dirty="0">
                  <a:solidFill>
                    <a:schemeClr val="tx1"/>
                  </a:solidFill>
                  <a:latin typeface="+mn-lt"/>
                </a:rPr>
              </a:br>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endParaRPr lang="de-DE" sz="1100" b="1" noProof="0" dirty="0">
                <a:solidFill>
                  <a:schemeClr val="tx1"/>
                </a:solidFill>
                <a:latin typeface="+mn-lt"/>
              </a:endParaRPr>
            </a:p>
            <a:p>
              <a:pPr algn="l" rtl="0"/>
              <a:r>
                <a:rPr lang="de-DE" sz="1100" b="1" noProof="0" dirty="0">
                  <a:solidFill>
                    <a:schemeClr val="tx1"/>
                  </a:solidFill>
                  <a:latin typeface="+mn-lt"/>
                </a:rPr>
                <a:t>Absatz-Zeichen</a:t>
              </a:r>
              <a:r>
                <a:rPr lang="de-DE" sz="1100" b="0" noProof="0" dirty="0">
                  <a:solidFill>
                    <a:schemeClr val="tx1"/>
                  </a:solidFill>
                  <a:latin typeface="+mn-lt"/>
                </a:rPr>
                <a:t> nutzen, um zwischen diesen vorprogrammierten Textebenen zu wechseln: </a:t>
              </a:r>
            </a:p>
          </p:txBody>
        </p:sp>
        <p:sp>
          <p:nvSpPr>
            <p:cNvPr id="15" name="Textplatzhalter 45">
              <a:extLst>
                <a:ext uri="{FF2B5EF4-FFF2-40B4-BE49-F238E27FC236}">
                  <a16:creationId xmlns:a16="http://schemas.microsoft.com/office/drawing/2014/main" id="{71875777-29D8-4D34-B8AB-42987728E240}"/>
                </a:ext>
              </a:extLst>
            </p:cNvPr>
            <p:cNvSpPr txBox="1">
              <a:spLocks/>
            </p:cNvSpPr>
            <p:nvPr/>
          </p:nvSpPr>
          <p:spPr>
            <a:xfrm>
              <a:off x="12623256" y="3829050"/>
              <a:ext cx="2097628" cy="1377179"/>
            </a:xfrm>
            <a:prstGeom prst="rect">
              <a:avLst/>
            </a:prstGeom>
          </p:spPr>
          <p:txBody>
            <a:bodyPr vert="horz" wrap="none" lIns="0" tIns="0" rIns="0" bIns="0" rtlCol="0">
              <a:noAutofit/>
            </a:bodyPr>
            <a:lstStyle>
              <a:lvl1pPr marL="180000" indent="-180000" algn="l" defTabSz="914400" rtl="0" eaLnBrk="1" latinLnBrk="0" hangingPunct="1">
                <a:lnSpc>
                  <a:spcPct val="100000"/>
                </a:lnSpc>
                <a:spcBef>
                  <a:spcPts val="0"/>
                </a:spcBef>
                <a:spcAft>
                  <a:spcPts val="1000"/>
                </a:spcAft>
                <a:buClr>
                  <a:srgbClr val="671344"/>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1pPr>
              <a:lvl2pPr marL="358775"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a:solidFill>
                    <a:schemeClr val="tx1"/>
                  </a:solidFill>
                  <a:latin typeface="+mn-lt"/>
                  <a:ea typeface="+mn-ea"/>
                  <a:cs typeface="Arial" panose="020B0604020202020204" pitchFamily="34" charset="0"/>
                </a:defRPr>
              </a:lvl2pPr>
              <a:lvl3pPr marL="540000" indent="-179388" algn="l" defTabSz="914400" rtl="0" eaLnBrk="1" latinLnBrk="0" hangingPunct="1">
                <a:lnSpc>
                  <a:spcPct val="100000"/>
                </a:lnSpc>
                <a:spcBef>
                  <a:spcPts val="0"/>
                </a:spcBef>
                <a:spcAft>
                  <a:spcPts val="1000"/>
                </a:spcAft>
                <a:buClr>
                  <a:schemeClr val="tx2"/>
                </a:buClr>
                <a:buSzPct val="80000"/>
                <a:buFont typeface="Wingdings" panose="05000000000000000000" pitchFamily="2" charset="2"/>
                <a:buChar char="§"/>
                <a:defRPr lang="de-DE" sz="1400" kern="1200" dirty="0" smtClean="0">
                  <a:solidFill>
                    <a:schemeClr val="tx1"/>
                  </a:solidFill>
                  <a:latin typeface="+mn-lt"/>
                  <a:ea typeface="+mn-ea"/>
                  <a:cs typeface="Arial" panose="020B0604020202020204" pitchFamily="34" charset="0"/>
                </a:defRPr>
              </a:lvl3pPr>
              <a:lvl4pPr marL="180975" indent="-180975" algn="l" defTabSz="914400" rtl="0" eaLnBrk="1" latinLnBrk="0" hangingPunct="1">
                <a:lnSpc>
                  <a:spcPct val="100000"/>
                </a:lnSpc>
                <a:spcBef>
                  <a:spcPts val="0"/>
                </a:spcBef>
                <a:spcAft>
                  <a:spcPts val="1000"/>
                </a:spcAft>
                <a:buClr>
                  <a:schemeClr val="tx2"/>
                </a:buClr>
                <a:buSzPct val="100000"/>
                <a:buFont typeface="Symbol" panose="05050102010706020507" pitchFamily="18" charset="2"/>
                <a:buChar char="-"/>
                <a:defRPr lang="de-DE" sz="1400" kern="1200" dirty="0">
                  <a:solidFill>
                    <a:schemeClr val="tx1"/>
                  </a:solidFill>
                  <a:latin typeface="+mn-lt"/>
                  <a:ea typeface="+mn-ea"/>
                  <a:cs typeface="Arial" panose="020B0604020202020204" pitchFamily="34" charset="0"/>
                </a:defRPr>
              </a:lvl4pPr>
              <a:lvl5pPr marL="358775" indent="-179388" algn="l" defTabSz="914400" rtl="0" eaLnBrk="1" latinLnBrk="0" hangingPunct="1">
                <a:lnSpc>
                  <a:spcPct val="100000"/>
                </a:lnSpc>
                <a:spcBef>
                  <a:spcPts val="0"/>
                </a:spcBef>
                <a:spcAft>
                  <a:spcPts val="1000"/>
                </a:spcAft>
                <a:buClr>
                  <a:schemeClr val="tx2"/>
                </a:buClr>
                <a:buFont typeface="+mj-lt"/>
                <a:buAutoNum type="alphaLcPeriod"/>
                <a:tabLst/>
                <a:defRPr lang="de-DE" sz="1400" b="0" kern="1200" dirty="0">
                  <a:solidFill>
                    <a:schemeClr val="tx1"/>
                  </a:solidFill>
                  <a:latin typeface="+mn-lt"/>
                  <a:ea typeface="+mn-ea"/>
                  <a:cs typeface="Arial" panose="020B0604020202020204" pitchFamily="34" charset="0"/>
                </a:defRPr>
              </a:lvl5pPr>
              <a:lvl6pPr marL="540000" indent="-179388" algn="l" defTabSz="914400" rtl="0" eaLnBrk="1" latinLnBrk="0" hangingPunct="1">
                <a:lnSpc>
                  <a:spcPct val="100000"/>
                </a:lnSpc>
                <a:spcBef>
                  <a:spcPts val="0"/>
                </a:spcBef>
                <a:spcAft>
                  <a:spcPts val="1000"/>
                </a:spcAft>
                <a:buClr>
                  <a:schemeClr val="tx2"/>
                </a:buClr>
                <a:buFont typeface="+mj-lt"/>
                <a:buAutoNum type="alphaLcPeriod"/>
                <a:defRPr lang="de-DE" sz="1400" b="0" kern="1200" dirty="0" smtClean="0">
                  <a:solidFill>
                    <a:schemeClr val="tx1"/>
                  </a:solidFill>
                  <a:latin typeface="+mn-lt"/>
                  <a:ea typeface="+mn-ea"/>
                  <a:cs typeface="Arial" panose="020B0604020202020204" pitchFamily="34" charset="0"/>
                </a:defRPr>
              </a:lvl6pPr>
              <a:lvl7pPr marL="0" indent="0" algn="l" defTabSz="914400" rtl="0" eaLnBrk="1" latinLnBrk="0" hangingPunct="1">
                <a:lnSpc>
                  <a:spcPct val="100000"/>
                </a:lnSpc>
                <a:spcBef>
                  <a:spcPts val="600"/>
                </a:spcBef>
                <a:spcAft>
                  <a:spcPts val="1000"/>
                </a:spcAft>
                <a:buFont typeface="+mj-lt"/>
                <a:buNone/>
                <a:defRPr lang="de-DE" sz="1400" b="1" kern="1200" dirty="0">
                  <a:solidFill>
                    <a:schemeClr val="tx1"/>
                  </a:solidFill>
                  <a:latin typeface="+mn-lt"/>
                  <a:ea typeface="+mn-ea"/>
                  <a:cs typeface="Arial" panose="020B0604020202020204" pitchFamily="34" charset="0"/>
                </a:defRPr>
              </a:lvl7pPr>
              <a:lvl8pPr marL="0" indent="0" algn="l" defTabSz="914400" rtl="0" eaLnBrk="1" latinLnBrk="0" hangingPunct="1">
                <a:lnSpc>
                  <a:spcPct val="100000"/>
                </a:lnSpc>
                <a:spcBef>
                  <a:spcPts val="0"/>
                </a:spcBef>
                <a:spcAft>
                  <a:spcPts val="1000"/>
                </a:spcAft>
                <a:buFont typeface="+mj-lt"/>
                <a:buNone/>
                <a:defRPr lang="de-DE" sz="1400" kern="1200" dirty="0" smtClean="0">
                  <a:solidFill>
                    <a:schemeClr val="tx1"/>
                  </a:solidFill>
                  <a:latin typeface="+mn-lt"/>
                  <a:ea typeface="+mn-ea"/>
                  <a:cs typeface="Arial" panose="020B0604020202020204" pitchFamily="34" charset="0"/>
                </a:defRPr>
              </a:lvl8pPr>
              <a:lvl9pPr marL="0" indent="0" algn="l" defTabSz="914400" rtl="0" eaLnBrk="1" latinLnBrk="0" hangingPunct="1">
                <a:lnSpc>
                  <a:spcPct val="100000"/>
                </a:lnSpc>
                <a:spcBef>
                  <a:spcPts val="1200"/>
                </a:spcBef>
                <a:spcAft>
                  <a:spcPts val="1000"/>
                </a:spcAft>
                <a:buFont typeface="Arial" panose="020B0604020202020204" pitchFamily="34" charset="0"/>
                <a:buNone/>
                <a:defRPr sz="1800" b="0" kern="1200">
                  <a:solidFill>
                    <a:schemeClr val="tx2"/>
                  </a:solidFill>
                  <a:latin typeface="+mn-lt"/>
                  <a:ea typeface="+mn-ea"/>
                  <a:cs typeface="+mn-cs"/>
                </a:defRPr>
              </a:lvl9pPr>
            </a:lstStyle>
            <a:p>
              <a:pPr marL="225425" lvl="0" indent="-225425"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Char char="•"/>
              </a:pPr>
              <a:r>
                <a:rPr lang="de-DE" sz="1400" kern="1200" noProof="0" dirty="0">
                  <a:solidFill>
                    <a:schemeClr val="tx1"/>
                  </a:solidFill>
                  <a:latin typeface="+mn-lt"/>
                  <a:ea typeface="+mn-ea"/>
                  <a:cs typeface="+mn-cs"/>
                </a:rPr>
                <a:t>Erste Ebene</a:t>
              </a:r>
            </a:p>
            <a:p>
              <a:pPr marL="457200" lvl="1" indent="-225425" algn="l" defTabSz="914400" rtl="0" eaLnBrk="1" latinLnBrk="0" hangingPunct="1">
                <a:lnSpc>
                  <a:spcPct val="100000"/>
                </a:lnSpc>
                <a:spcBef>
                  <a:spcPts val="0"/>
                </a:spcBef>
                <a:spcAft>
                  <a:spcPts val="800"/>
                </a:spcAft>
                <a:buClr>
                  <a:schemeClr val="accent6"/>
                </a:buClr>
                <a:buSzPct val="110000"/>
                <a:buFont typeface="+mj-lt"/>
                <a:buAutoNum type="arabicPeriod"/>
              </a:pPr>
              <a:r>
                <a:rPr lang="de-DE" sz="1400" kern="1200" noProof="0" dirty="0">
                  <a:solidFill>
                    <a:schemeClr val="tx1"/>
                  </a:solidFill>
                  <a:latin typeface="+mn-lt"/>
                  <a:ea typeface="+mn-ea"/>
                  <a:cs typeface="+mn-cs"/>
                </a:rPr>
                <a:t>Zweite Ebene</a:t>
              </a:r>
            </a:p>
            <a:p>
              <a:pPr marL="685800" lvl="2" indent="-225425" algn="l" defTabSz="914400" rtl="0" eaLnBrk="1" latinLnBrk="0" hangingPunct="1">
                <a:lnSpc>
                  <a:spcPct val="100000"/>
                </a:lnSpc>
                <a:spcBef>
                  <a:spcPts val="0"/>
                </a:spcBef>
                <a:spcAft>
                  <a:spcPts val="800"/>
                </a:spcAft>
                <a:buClr>
                  <a:schemeClr val="accent6"/>
                </a:buClr>
                <a:buSzPct val="110000"/>
                <a:buFont typeface="+mj-lt"/>
                <a:buAutoNum type="alphaLcPeriod"/>
              </a:pPr>
              <a:r>
                <a:rPr lang="de-DE" sz="1400" b="0" kern="1200" noProof="0" dirty="0">
                  <a:solidFill>
                    <a:schemeClr val="tx1"/>
                  </a:solidFill>
                  <a:latin typeface="+mn-lt"/>
                  <a:ea typeface="+mn-ea"/>
                  <a:cs typeface="+mn-cs"/>
                </a:rPr>
                <a:t>Dritte Ebene</a:t>
              </a:r>
            </a:p>
            <a:p>
              <a:pPr marL="0" lvl="3"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kern="1200" noProof="0" dirty="0">
                  <a:solidFill>
                    <a:schemeClr val="tx1"/>
                  </a:solidFill>
                  <a:latin typeface="+mn-lt"/>
                  <a:ea typeface="+mn-ea"/>
                  <a:cs typeface="+mn-cs"/>
                </a:rPr>
                <a:t>Vierte Ebene</a:t>
              </a:r>
            </a:p>
            <a:p>
              <a:pPr marL="0" lvl="4" indent="0"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None/>
              </a:pPr>
              <a:r>
                <a:rPr lang="de-DE" sz="1400" b="1" kern="1200" noProof="0" dirty="0">
                  <a:solidFill>
                    <a:schemeClr val="tx1"/>
                  </a:solidFill>
                  <a:latin typeface="+mn-lt"/>
                  <a:ea typeface="+mn-ea"/>
                  <a:cs typeface="+mn-cs"/>
                </a:rPr>
                <a:t>Fünfte Ebene</a:t>
              </a:r>
            </a:p>
          </p:txBody>
        </p:sp>
        <p:grpSp>
          <p:nvGrpSpPr>
            <p:cNvPr id="16" name="Group 15">
              <a:extLst>
                <a:ext uri="{FF2B5EF4-FFF2-40B4-BE49-F238E27FC236}">
                  <a16:creationId xmlns:a16="http://schemas.microsoft.com/office/drawing/2014/main" id="{418B9C7A-2367-47A1-9705-896445E1BA53}"/>
                </a:ext>
              </a:extLst>
            </p:cNvPr>
            <p:cNvGrpSpPr/>
            <p:nvPr/>
          </p:nvGrpSpPr>
          <p:grpSpPr>
            <a:xfrm>
              <a:off x="12656430" y="1089171"/>
              <a:ext cx="1584137" cy="987131"/>
              <a:chOff x="3838574" y="-1487553"/>
              <a:chExt cx="1819275" cy="1133654"/>
            </a:xfrm>
          </p:grpSpPr>
          <p:pic>
            <p:nvPicPr>
              <p:cNvPr id="24" name="Picture 23">
                <a:extLst>
                  <a:ext uri="{FF2B5EF4-FFF2-40B4-BE49-F238E27FC236}">
                    <a16:creationId xmlns:a16="http://schemas.microsoft.com/office/drawing/2014/main" id="{41E3CD22-77CE-40C7-91C5-75327DC7BF9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3838574" y="-1487553"/>
                <a:ext cx="1819275" cy="1133654"/>
              </a:xfrm>
              <a:prstGeom prst="rect">
                <a:avLst/>
              </a:prstGeom>
              <a:ln>
                <a:solidFill>
                  <a:schemeClr val="tx1"/>
                </a:solidFill>
              </a:ln>
            </p:spPr>
          </p:pic>
          <p:pic>
            <p:nvPicPr>
              <p:cNvPr id="25" name="Picture 24">
                <a:extLst>
                  <a:ext uri="{FF2B5EF4-FFF2-40B4-BE49-F238E27FC236}">
                    <a16:creationId xmlns:a16="http://schemas.microsoft.com/office/drawing/2014/main" id="{C33BF852-B9FD-435D-89DA-E7A8FA523F8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838574" y="-1197759"/>
                <a:ext cx="1758949" cy="843860"/>
              </a:xfrm>
              <a:prstGeom prst="rect">
                <a:avLst/>
              </a:prstGeom>
            </p:spPr>
          </p:pic>
          <p:sp>
            <p:nvSpPr>
              <p:cNvPr id="27" name="Rectangle 26">
                <a:extLst>
                  <a:ext uri="{FF2B5EF4-FFF2-40B4-BE49-F238E27FC236}">
                    <a16:creationId xmlns:a16="http://schemas.microsoft.com/office/drawing/2014/main" id="{AFF5AF15-E4AB-4A90-8649-15D2E1CD4B70}"/>
                  </a:ext>
                </a:extLst>
              </p:cNvPr>
              <p:cNvSpPr/>
              <p:nvPr userDrawn="1"/>
            </p:nvSpPr>
            <p:spPr>
              <a:xfrm>
                <a:off x="5517931" y="-1487553"/>
                <a:ext cx="139917" cy="983056"/>
              </a:xfrm>
              <a:prstGeom prst="rect">
                <a:avLst/>
              </a:prstGeom>
              <a:solidFill>
                <a:srgbClr val="F3F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grpSp>
        <p:sp>
          <p:nvSpPr>
            <p:cNvPr id="17" name="Oval 16">
              <a:extLst>
                <a:ext uri="{FF2B5EF4-FFF2-40B4-BE49-F238E27FC236}">
                  <a16:creationId xmlns:a16="http://schemas.microsoft.com/office/drawing/2014/main" id="{6F6E478D-6B3B-478B-BF62-83773FAFDC1F}"/>
                </a:ext>
              </a:extLst>
            </p:cNvPr>
            <p:cNvSpPr/>
            <p:nvPr/>
          </p:nvSpPr>
          <p:spPr>
            <a:xfrm>
              <a:off x="13370810" y="1243451"/>
              <a:ext cx="407914" cy="407914"/>
            </a:xfrm>
            <a:prstGeom prst="ellipse">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rtl="0"/>
              <a:endParaRPr lang="de-DE" sz="1100" noProof="0" dirty="0">
                <a:latin typeface="+mn-lt"/>
              </a:endParaRPr>
            </a:p>
          </p:txBody>
        </p:sp>
        <p:sp>
          <p:nvSpPr>
            <p:cNvPr id="18" name="Arc 17">
              <a:extLst>
                <a:ext uri="{FF2B5EF4-FFF2-40B4-BE49-F238E27FC236}">
                  <a16:creationId xmlns:a16="http://schemas.microsoft.com/office/drawing/2014/main" id="{6BC65115-21B1-4C79-BA00-0F9FB9651FCB}"/>
                </a:ext>
              </a:extLst>
            </p:cNvPr>
            <p:cNvSpPr/>
            <p:nvPr/>
          </p:nvSpPr>
          <p:spPr>
            <a:xfrm rot="15649404">
              <a:off x="12562252" y="1598191"/>
              <a:ext cx="2019300" cy="1666765"/>
            </a:xfrm>
            <a:prstGeom prst="arc">
              <a:avLst>
                <a:gd name="adj1" fmla="val 16676483"/>
                <a:gd name="adj2" fmla="val 0"/>
              </a:avLst>
            </a:prstGeom>
            <a:ln w="28575">
              <a:solidFill>
                <a:schemeClr val="accent6"/>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de-DE" sz="1100" noProof="0" dirty="0">
                <a:latin typeface="+mn-lt"/>
              </a:endParaRPr>
            </a:p>
          </p:txBody>
        </p:sp>
        <p:sp>
          <p:nvSpPr>
            <p:cNvPr id="19" name="TextBox 18">
              <a:extLst>
                <a:ext uri="{FF2B5EF4-FFF2-40B4-BE49-F238E27FC236}">
                  <a16:creationId xmlns:a16="http://schemas.microsoft.com/office/drawing/2014/main" id="{7AAA2626-03CA-4B1F-83E1-CCCB012A93EA}"/>
                </a:ext>
              </a:extLst>
            </p:cNvPr>
            <p:cNvSpPr txBox="1"/>
            <p:nvPr/>
          </p:nvSpPr>
          <p:spPr>
            <a:xfrm>
              <a:off x="12666422"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Start</a:t>
              </a:r>
            </a:p>
          </p:txBody>
        </p:sp>
        <p:sp>
          <p:nvSpPr>
            <p:cNvPr id="21" name="TextBox 20">
              <a:extLst>
                <a:ext uri="{FF2B5EF4-FFF2-40B4-BE49-F238E27FC236}">
                  <a16:creationId xmlns:a16="http://schemas.microsoft.com/office/drawing/2014/main" id="{A714E702-5569-4975-B84C-587A2C08466D}"/>
                </a:ext>
              </a:extLst>
            </p:cNvPr>
            <p:cNvSpPr txBox="1"/>
            <p:nvPr/>
          </p:nvSpPr>
          <p:spPr>
            <a:xfrm>
              <a:off x="13167679"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infügen</a:t>
              </a:r>
            </a:p>
          </p:txBody>
        </p:sp>
        <p:sp>
          <p:nvSpPr>
            <p:cNvPr id="22" name="TextBox 21">
              <a:extLst>
                <a:ext uri="{FF2B5EF4-FFF2-40B4-BE49-F238E27FC236}">
                  <a16:creationId xmlns:a16="http://schemas.microsoft.com/office/drawing/2014/main" id="{98E5664B-080D-4853-B564-3927004E2110}"/>
                </a:ext>
              </a:extLst>
            </p:cNvPr>
            <p:cNvSpPr txBox="1"/>
            <p:nvPr/>
          </p:nvSpPr>
          <p:spPr>
            <a:xfrm>
              <a:off x="13706533" y="1143850"/>
              <a:ext cx="398698" cy="103976"/>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Entwurf</a:t>
              </a:r>
            </a:p>
          </p:txBody>
        </p:sp>
        <p:sp>
          <p:nvSpPr>
            <p:cNvPr id="23" name="TextBox 22">
              <a:extLst>
                <a:ext uri="{FF2B5EF4-FFF2-40B4-BE49-F238E27FC236}">
                  <a16:creationId xmlns:a16="http://schemas.microsoft.com/office/drawing/2014/main" id="{B75B64AC-85FC-4A9C-8C89-9CE7D62173D4}"/>
                </a:ext>
              </a:extLst>
            </p:cNvPr>
            <p:cNvSpPr txBox="1"/>
            <p:nvPr/>
          </p:nvSpPr>
          <p:spPr>
            <a:xfrm>
              <a:off x="13662625" y="1929226"/>
              <a:ext cx="546374" cy="136662"/>
            </a:xfrm>
            <a:prstGeom prst="rect">
              <a:avLst/>
            </a:prstGeom>
            <a:solidFill>
              <a:srgbClr val="F3F2F1"/>
            </a:solidFill>
          </p:spPr>
          <p:txBody>
            <a:bodyPr wrap="none" lIns="0" tIns="0" rIns="0" bIns="0" rtlCol="0">
              <a:noAutofit/>
            </a:bodyPr>
            <a:lstStyle/>
            <a:p>
              <a:pPr algn="l" defTabSz="180975" rtl="0">
                <a:spcAft>
                  <a:spcPts val="1000"/>
                </a:spcAft>
                <a:buClr>
                  <a:srgbClr val="671344"/>
                </a:buClr>
                <a:buSzPct val="80000"/>
                <a:tabLst>
                  <a:tab pos="180975" algn="l"/>
                  <a:tab pos="360363" algn="l"/>
                </a:tabLst>
              </a:pPr>
              <a:r>
                <a:rPr lang="de-DE" sz="600" noProof="0" dirty="0">
                  <a:latin typeface="+mn-lt"/>
                  <a:cs typeface="Arial" panose="020B0604020202020204" pitchFamily="34" charset="0"/>
                </a:rPr>
                <a:t> Absatz</a:t>
              </a:r>
            </a:p>
          </p:txBody>
        </p:sp>
      </p:grpSp>
    </p:spTree>
    <p:extLst>
      <p:ext uri="{BB962C8B-B14F-4D97-AF65-F5344CB8AC3E}">
        <p14:creationId xmlns:p14="http://schemas.microsoft.com/office/powerpoint/2010/main" val="2286677536"/>
      </p:ext>
    </p:extLst>
  </p:cSld>
  <p:clrMapOvr>
    <a:masterClrMapping/>
  </p:clrMapOvr>
  <p:extLst>
    <p:ext uri="{DCECCB84-F9BA-43D5-87BE-67443E8EF086}">
      <p15:sldGuideLst xmlns:p15="http://schemas.microsoft.com/office/powerpoint/2012/main">
        <p15:guide id="2" orient="horz" pos="777" userDrawn="1">
          <p15:clr>
            <a:srgbClr val="F26B43"/>
          </p15:clr>
        </p15:guide>
        <p15:guide id="3" orient="horz" pos="2981" userDrawn="1">
          <p15:clr>
            <a:srgbClr val="F26B43"/>
          </p15:clr>
        </p15:guide>
        <p15:guide id="4" pos="461" userDrawn="1">
          <p15:clr>
            <a:srgbClr val="F26B43"/>
          </p15:clr>
        </p15:guide>
        <p15:guide id="5" orient="horz" pos="389" userDrawn="1">
          <p15:clr>
            <a:srgbClr val="F26B43"/>
          </p15:clr>
        </p15:guide>
        <p15:guide id="6" pos="5299" userDrawn="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9" name="Object 118" hidden="1">
            <a:extLst>
              <a:ext uri="{FF2B5EF4-FFF2-40B4-BE49-F238E27FC236}">
                <a16:creationId xmlns:a16="http://schemas.microsoft.com/office/drawing/2014/main" id="{2AA24669-8A61-4092-968A-B83D6917742D}"/>
              </a:ext>
            </a:extLst>
          </p:cNvPr>
          <p:cNvGraphicFramePr>
            <a:graphicFrameLocks noChangeAspect="1"/>
          </p:cNvGraphicFramePr>
          <p:nvPr userDrawn="1">
            <p:custDataLst>
              <p:tags r:id="rId20"/>
            </p:custDataLst>
            <p:extLst>
              <p:ext uri="{D42A27DB-BD31-4B8C-83A1-F6EECF244321}">
                <p14:modId xmlns:p14="http://schemas.microsoft.com/office/powerpoint/2010/main" val="2692094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19" name="think-cell Slide" r:id="rId21" imgW="306" imgH="306" progId="TCLayout.ActiveDocument.1">
                  <p:embed/>
                </p:oleObj>
              </mc:Choice>
              <mc:Fallback>
                <p:oleObj name="think-cell Slide" r:id="rId21" imgW="306" imgH="306"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F79760E-745A-40E2-9C12-3DEC004DD0E0}"/>
              </a:ext>
            </a:extLst>
          </p:cNvPr>
          <p:cNvSpPr>
            <a:spLocks noGrp="1"/>
          </p:cNvSpPr>
          <p:nvPr>
            <p:ph type="title"/>
          </p:nvPr>
        </p:nvSpPr>
        <p:spPr>
          <a:xfrm>
            <a:off x="731839" y="83994"/>
            <a:ext cx="6216649" cy="533543"/>
          </a:xfrm>
          <a:prstGeom prst="rect">
            <a:avLst/>
          </a:prstGeom>
        </p:spPr>
        <p:txBody>
          <a:bodyPr vert="horz" wrap="square" lIns="0" tIns="0" rIns="0" bIns="0" rtlCol="0" anchor="ctr" anchorCtr="0">
            <a:noAutofit/>
          </a:bodyPr>
          <a:lstStyle/>
          <a:p>
            <a:r>
              <a:rPr lang="de-DE" noProof="0" dirty="0"/>
              <a:t>Titel </a:t>
            </a:r>
            <a:br>
              <a:rPr lang="de-DE" noProof="0" dirty="0"/>
            </a:br>
            <a:r>
              <a:rPr lang="de-DE" noProof="0" dirty="0"/>
              <a:t>hinzufügen</a:t>
            </a:r>
          </a:p>
        </p:txBody>
      </p:sp>
      <p:sp>
        <p:nvSpPr>
          <p:cNvPr id="3" name="Text Placeholder 2">
            <a:extLst>
              <a:ext uri="{FF2B5EF4-FFF2-40B4-BE49-F238E27FC236}">
                <a16:creationId xmlns:a16="http://schemas.microsoft.com/office/drawing/2014/main" id="{5896E2FE-2358-4816-A4A6-2ED2BD708B0A}"/>
              </a:ext>
            </a:extLst>
          </p:cNvPr>
          <p:cNvSpPr>
            <a:spLocks noGrp="1"/>
          </p:cNvSpPr>
          <p:nvPr>
            <p:ph type="body" idx="1"/>
          </p:nvPr>
        </p:nvSpPr>
        <p:spPr>
          <a:xfrm>
            <a:off x="366713" y="1028700"/>
            <a:ext cx="8410575" cy="3910013"/>
          </a:xfrm>
          <a:prstGeom prst="rect">
            <a:avLst/>
          </a:prstGeom>
        </p:spPr>
        <p:txBody>
          <a:bodyPr vert="horz" wrap="square" lIns="0" tIns="0" rIns="0" bIns="0" rtlCol="0" anchor="t" anchorCtr="0">
            <a:noAutofit/>
          </a:bodyPr>
          <a:lstStyle/>
          <a:p>
            <a:pPr lvl="0"/>
            <a:r>
              <a:rPr lang="de-DE" noProof="0" dirty="0"/>
              <a:t>Erste Ebene</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Slide Number Placeholder 5">
            <a:extLst>
              <a:ext uri="{FF2B5EF4-FFF2-40B4-BE49-F238E27FC236}">
                <a16:creationId xmlns:a16="http://schemas.microsoft.com/office/drawing/2014/main" id="{D81270DA-2507-48A1-8BF9-84554ACC352C}"/>
              </a:ext>
            </a:extLst>
          </p:cNvPr>
          <p:cNvSpPr>
            <a:spLocks noGrp="1"/>
          </p:cNvSpPr>
          <p:nvPr>
            <p:ph type="sldNum" sz="quarter" idx="4"/>
          </p:nvPr>
        </p:nvSpPr>
        <p:spPr>
          <a:xfrm>
            <a:off x="730625" y="4938713"/>
            <a:ext cx="367925" cy="204787"/>
          </a:xfrm>
          <a:prstGeom prst="rect">
            <a:avLst/>
          </a:prstGeom>
        </p:spPr>
        <p:txBody>
          <a:bodyPr vert="horz" wrap="square" lIns="0" tIns="0" rIns="0" bIns="0" rtlCol="0" anchor="ctr" anchorCtr="0"/>
          <a:lstStyle>
            <a:lvl1pPr algn="l" rtl="0">
              <a:defRPr sz="600">
                <a:solidFill>
                  <a:schemeClr val="tx1"/>
                </a:solidFill>
              </a:defRPr>
            </a:lvl1pPr>
          </a:lstStyle>
          <a:p>
            <a:fld id="{61A237A4-5F56-495D-ADE9-563CDE6DCB6B}" type="slidenum">
              <a:rPr lang="de-DE" noProof="0" smtClean="0"/>
              <a:pPr/>
              <a:t>‹Nr.›</a:t>
            </a:fld>
            <a:endParaRPr lang="de-DE" noProof="0" dirty="0"/>
          </a:p>
        </p:txBody>
      </p:sp>
      <p:sp>
        <p:nvSpPr>
          <p:cNvPr id="62" name="Rectangle 61">
            <a:extLst>
              <a:ext uri="{FF2B5EF4-FFF2-40B4-BE49-F238E27FC236}">
                <a16:creationId xmlns:a16="http://schemas.microsoft.com/office/drawing/2014/main" id="{0FD49914-F067-4D9E-AB83-35D4C290FDD6}"/>
              </a:ext>
            </a:extLst>
          </p:cNvPr>
          <p:cNvSpPr/>
          <p:nvPr userDrawn="1"/>
        </p:nvSpPr>
        <p:spPr>
          <a:xfrm rot="5400000">
            <a:off x="80961" y="-80963"/>
            <a:ext cx="204789" cy="36671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rtl="0"/>
            <a:endParaRPr lang="de-DE" sz="1400" noProof="0" dirty="0">
              <a:solidFill>
                <a:schemeClr val="bg1"/>
              </a:solidFill>
            </a:endParaRPr>
          </a:p>
        </p:txBody>
      </p:sp>
    </p:spTree>
    <p:extLst>
      <p:ext uri="{BB962C8B-B14F-4D97-AF65-F5344CB8AC3E}">
        <p14:creationId xmlns:p14="http://schemas.microsoft.com/office/powerpoint/2010/main" val="1397808771"/>
      </p:ext>
    </p:extLst>
  </p:cSld>
  <p:clrMap bg1="lt1" tx1="dk1" bg2="lt2" tx2="dk2" accent1="accent1" accent2="accent2" accent3="accent3" accent4="accent4" accent5="accent5" accent6="accent6" hlink="hlink" folHlink="folHlink"/>
  <p:sldLayoutIdLst>
    <p:sldLayoutId id="2147483699" r:id="rId1"/>
    <p:sldLayoutId id="2147483709" r:id="rId2"/>
    <p:sldLayoutId id="2147483710" r:id="rId3"/>
    <p:sldLayoutId id="2147483711" r:id="rId4"/>
    <p:sldLayoutId id="2147483714" r:id="rId5"/>
    <p:sldLayoutId id="2147483700" r:id="rId6"/>
    <p:sldLayoutId id="2147483701" r:id="rId7"/>
    <p:sldLayoutId id="2147483702" r:id="rId8"/>
    <p:sldLayoutId id="2147483715" r:id="rId9"/>
    <p:sldLayoutId id="2147483703" r:id="rId10"/>
    <p:sldLayoutId id="2147483704" r:id="rId11"/>
    <p:sldLayoutId id="2147483705" r:id="rId12"/>
    <p:sldLayoutId id="2147483706" r:id="rId13"/>
    <p:sldLayoutId id="2147483707" r:id="rId14"/>
    <p:sldLayoutId id="2147483708" r:id="rId15"/>
    <p:sldLayoutId id="2147483712" r:id="rId16"/>
    <p:sldLayoutId id="2147483713" r:id="rId17"/>
  </p:sldLayoutIdLst>
  <p:hf hdr="0" ftr="0"/>
  <p:txStyles>
    <p:titleStyle>
      <a:lvl1pPr algn="l" defTabSz="914400" rtl="0" eaLnBrk="1" latinLnBrk="0" hangingPunct="1">
        <a:lnSpc>
          <a:spcPct val="80000"/>
        </a:lnSpc>
        <a:spcBef>
          <a:spcPct val="0"/>
        </a:spcBef>
        <a:buNone/>
        <a:defRPr sz="2000" kern="1200">
          <a:solidFill>
            <a:schemeClr val="tx1"/>
          </a:solidFill>
          <a:latin typeface="+mj-lt"/>
          <a:ea typeface="+mj-ea"/>
          <a:cs typeface="+mj-cs"/>
        </a:defRPr>
      </a:lvl1pPr>
    </p:titleStyle>
    <p:bodyStyle>
      <a:lvl1pPr marL="225425" indent="-225425"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Char char="•"/>
        <a:defRPr sz="1400" kern="1200">
          <a:solidFill>
            <a:schemeClr val="tx1"/>
          </a:solidFill>
          <a:latin typeface="+mn-lt"/>
          <a:ea typeface="+mn-ea"/>
          <a:cs typeface="+mn-cs"/>
        </a:defRPr>
      </a:lvl1pPr>
      <a:lvl2pPr marL="457200" indent="-225425" algn="l" defTabSz="914400" rtl="0" eaLnBrk="1" latinLnBrk="0" hangingPunct="1">
        <a:lnSpc>
          <a:spcPct val="100000"/>
        </a:lnSpc>
        <a:spcBef>
          <a:spcPts val="0"/>
        </a:spcBef>
        <a:spcAft>
          <a:spcPts val="800"/>
        </a:spcAft>
        <a:buClr>
          <a:schemeClr val="accent6"/>
        </a:buClr>
        <a:buFont typeface="+mj-lt"/>
        <a:buAutoNum type="arabicPeriod"/>
        <a:defRPr sz="1400" kern="1200">
          <a:solidFill>
            <a:schemeClr val="tx1"/>
          </a:solidFill>
          <a:latin typeface="+mn-lt"/>
          <a:ea typeface="+mn-ea"/>
          <a:cs typeface="+mn-cs"/>
        </a:defRPr>
      </a:lvl2pPr>
      <a:lvl3pPr marL="685800" indent="-225425" algn="l" defTabSz="914400" rtl="0" eaLnBrk="1" latinLnBrk="0" hangingPunct="1">
        <a:lnSpc>
          <a:spcPct val="100000"/>
        </a:lnSpc>
        <a:spcBef>
          <a:spcPts val="0"/>
        </a:spcBef>
        <a:spcAft>
          <a:spcPts val="800"/>
        </a:spcAft>
        <a:buClr>
          <a:schemeClr val="accent6"/>
        </a:buClr>
        <a:buFont typeface="+mj-lt"/>
        <a:buAutoNum type="alphaLcPeriod"/>
        <a:defRPr sz="1400" b="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800"/>
        </a:spcAft>
        <a:buFont typeface="Arial" panose="020B0604020202020204" pitchFamily="34" charset="0"/>
        <a:buNone/>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800"/>
        </a:spcAft>
        <a:buFont typeface="Arial" panose="020B0604020202020204" pitchFamily="34" charset="0"/>
        <a:buNone/>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1" userDrawn="1">
          <p15:clr>
            <a:srgbClr val="A4A3A4"/>
          </p15:clr>
        </p15:guide>
        <p15:guide id="2" orient="horz" pos="129" userDrawn="1">
          <p15:clr>
            <a:srgbClr val="A4A3A4"/>
          </p15:clr>
        </p15:guide>
        <p15:guide id="3" orient="horz" pos="260" userDrawn="1">
          <p15:clr>
            <a:srgbClr val="A4A3A4"/>
          </p15:clr>
        </p15:guide>
        <p15:guide id="4" orient="horz" pos="389" userDrawn="1">
          <p15:clr>
            <a:srgbClr val="A4A3A4"/>
          </p15:clr>
        </p15:guide>
        <p15:guide id="5" orient="horz" pos="519" userDrawn="1">
          <p15:clr>
            <a:srgbClr val="A4A3A4"/>
          </p15:clr>
        </p15:guide>
        <p15:guide id="6" orient="horz" pos="648" userDrawn="1">
          <p15:clr>
            <a:srgbClr val="A4A3A4"/>
          </p15:clr>
        </p15:guide>
        <p15:guide id="7" orient="horz" pos="777" userDrawn="1">
          <p15:clr>
            <a:srgbClr val="A4A3A4"/>
          </p15:clr>
        </p15:guide>
        <p15:guide id="8" orient="horz" pos="908" userDrawn="1">
          <p15:clr>
            <a:srgbClr val="A4A3A4"/>
          </p15:clr>
        </p15:guide>
        <p15:guide id="9" orient="horz" pos="1037" userDrawn="1">
          <p15:clr>
            <a:srgbClr val="A4A3A4"/>
          </p15:clr>
        </p15:guide>
        <p15:guide id="10" orient="horz" pos="1167" userDrawn="1">
          <p15:clr>
            <a:srgbClr val="A4A3A4"/>
          </p15:clr>
        </p15:guide>
        <p15:guide id="11" orient="horz" pos="1296" userDrawn="1">
          <p15:clr>
            <a:srgbClr val="A4A3A4"/>
          </p15:clr>
        </p15:guide>
        <p15:guide id="12" orient="horz" pos="1425" userDrawn="1">
          <p15:clr>
            <a:srgbClr val="A4A3A4"/>
          </p15:clr>
        </p15:guide>
        <p15:guide id="13" orient="horz" pos="1556" userDrawn="1">
          <p15:clr>
            <a:srgbClr val="A4A3A4"/>
          </p15:clr>
        </p15:guide>
        <p15:guide id="14" orient="horz" pos="1685" userDrawn="1">
          <p15:clr>
            <a:srgbClr val="A4A3A4"/>
          </p15:clr>
        </p15:guide>
        <p15:guide id="15" orient="horz" pos="1815" userDrawn="1">
          <p15:clr>
            <a:srgbClr val="A4A3A4"/>
          </p15:clr>
        </p15:guide>
        <p15:guide id="16" orient="horz" pos="1944" userDrawn="1">
          <p15:clr>
            <a:srgbClr val="A4A3A4"/>
          </p15:clr>
        </p15:guide>
        <p15:guide id="17" orient="horz" pos="2073" userDrawn="1">
          <p15:clr>
            <a:srgbClr val="A4A3A4"/>
          </p15:clr>
        </p15:guide>
        <p15:guide id="18" orient="horz" pos="2204" userDrawn="1">
          <p15:clr>
            <a:srgbClr val="A4A3A4"/>
          </p15:clr>
        </p15:guide>
        <p15:guide id="19" orient="horz" pos="2333" userDrawn="1">
          <p15:clr>
            <a:srgbClr val="A4A3A4"/>
          </p15:clr>
        </p15:guide>
        <p15:guide id="20" orient="horz" pos="2463" userDrawn="1">
          <p15:clr>
            <a:srgbClr val="A4A3A4"/>
          </p15:clr>
        </p15:guide>
        <p15:guide id="21" orient="horz" pos="2592" userDrawn="1">
          <p15:clr>
            <a:srgbClr val="A4A3A4"/>
          </p15:clr>
        </p15:guide>
        <p15:guide id="22" orient="horz" pos="2721" userDrawn="1">
          <p15:clr>
            <a:srgbClr val="A4A3A4"/>
          </p15:clr>
        </p15:guide>
        <p15:guide id="23" orient="horz" pos="2852" userDrawn="1">
          <p15:clr>
            <a:srgbClr val="A4A3A4"/>
          </p15:clr>
        </p15:guide>
        <p15:guide id="24" orient="horz" pos="2981" userDrawn="1">
          <p15:clr>
            <a:srgbClr val="A4A3A4"/>
          </p15:clr>
        </p15:guide>
        <p15:guide id="25" orient="horz" pos="3111" userDrawn="1">
          <p15:clr>
            <a:srgbClr val="A4A3A4"/>
          </p15:clr>
        </p15:guide>
        <p15:guide id="26" pos="461" userDrawn="1">
          <p15:clr>
            <a:srgbClr val="A4A3A4"/>
          </p15:clr>
        </p15:guide>
        <p15:guide id="27" pos="692" userDrawn="1">
          <p15:clr>
            <a:srgbClr val="A4A3A4"/>
          </p15:clr>
        </p15:guide>
        <p15:guide id="28" pos="921" userDrawn="1">
          <p15:clr>
            <a:srgbClr val="A4A3A4"/>
          </p15:clr>
        </p15:guide>
        <p15:guide id="29" pos="1152" userDrawn="1">
          <p15:clr>
            <a:srgbClr val="A4A3A4"/>
          </p15:clr>
        </p15:guide>
        <p15:guide id="30" pos="1383" userDrawn="1">
          <p15:clr>
            <a:srgbClr val="A4A3A4"/>
          </p15:clr>
        </p15:guide>
        <p15:guide id="31" pos="1613" userDrawn="1">
          <p15:clr>
            <a:srgbClr val="A4A3A4"/>
          </p15:clr>
        </p15:guide>
        <p15:guide id="32" pos="1844" userDrawn="1">
          <p15:clr>
            <a:srgbClr val="A4A3A4"/>
          </p15:clr>
        </p15:guide>
        <p15:guide id="33" pos="2073" userDrawn="1">
          <p15:clr>
            <a:srgbClr val="A4A3A4"/>
          </p15:clr>
        </p15:guide>
        <p15:guide id="34" pos="2304" userDrawn="1">
          <p15:clr>
            <a:srgbClr val="A4A3A4"/>
          </p15:clr>
        </p15:guide>
        <p15:guide id="35" pos="2535" userDrawn="1">
          <p15:clr>
            <a:srgbClr val="A4A3A4"/>
          </p15:clr>
        </p15:guide>
        <p15:guide id="36" pos="2765" userDrawn="1">
          <p15:clr>
            <a:srgbClr val="A4A3A4"/>
          </p15:clr>
        </p15:guide>
        <p15:guide id="37" pos="2996" userDrawn="1">
          <p15:clr>
            <a:srgbClr val="A4A3A4"/>
          </p15:clr>
        </p15:guide>
        <p15:guide id="38" pos="3225" userDrawn="1">
          <p15:clr>
            <a:srgbClr val="A4A3A4"/>
          </p15:clr>
        </p15:guide>
        <p15:guide id="39" pos="3456" userDrawn="1">
          <p15:clr>
            <a:srgbClr val="A4A3A4"/>
          </p15:clr>
        </p15:guide>
        <p15:guide id="40" pos="3687" userDrawn="1">
          <p15:clr>
            <a:srgbClr val="A4A3A4"/>
          </p15:clr>
        </p15:guide>
        <p15:guide id="41" pos="3917" userDrawn="1">
          <p15:clr>
            <a:srgbClr val="A4A3A4"/>
          </p15:clr>
        </p15:guide>
        <p15:guide id="42" pos="4148" userDrawn="1">
          <p15:clr>
            <a:srgbClr val="A4A3A4"/>
          </p15:clr>
        </p15:guide>
        <p15:guide id="43" pos="4377" userDrawn="1">
          <p15:clr>
            <a:srgbClr val="A4A3A4"/>
          </p15:clr>
        </p15:guide>
        <p15:guide id="44" pos="4608" userDrawn="1">
          <p15:clr>
            <a:srgbClr val="A4A3A4"/>
          </p15:clr>
        </p15:guide>
        <p15:guide id="45" pos="4839" userDrawn="1">
          <p15:clr>
            <a:srgbClr val="A4A3A4"/>
          </p15:clr>
        </p15:guide>
        <p15:guide id="46" pos="5069" userDrawn="1">
          <p15:clr>
            <a:srgbClr val="A4A3A4"/>
          </p15:clr>
        </p15:guide>
        <p15:guide id="47" pos="5300" userDrawn="1">
          <p15:clr>
            <a:srgbClr val="A4A3A4"/>
          </p15:clr>
        </p15:guide>
        <p15:guide id="48" pos="5529"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9.jpe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9.jpe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1.jpe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2.jpe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3.jpe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4.jpe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hyperlink" Target="https://www.youtube.com/watch?v=cQbgvhjmcQ0" TargetMode="Externa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s://www.missio.com/kick-for-unity" TargetMode="Externa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hyperlink" Target="https://www.missio.com/helfen/spende-kick-for-unity" TargetMode="Externa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39C6F3-B410-40C2-AB33-47DDBB8D2520}"/>
              </a:ext>
            </a:extLst>
          </p:cNvPr>
          <p:cNvGraphicFramePr>
            <a:graphicFrameLocks noChangeAspect="1"/>
          </p:cNvGraphicFramePr>
          <p:nvPr>
            <p:custDataLst>
              <p:tags r:id="rId2"/>
            </p:custDataLst>
            <p:extLst>
              <p:ext uri="{D42A27DB-BD31-4B8C-83A1-F6EECF244321}">
                <p14:modId xmlns:p14="http://schemas.microsoft.com/office/powerpoint/2010/main" val="3339682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92" name="think-cell Slide" r:id="rId5" imgW="306" imgH="306" progId="TCLayout.ActiveDocument.1">
                  <p:embed/>
                </p:oleObj>
              </mc:Choice>
              <mc:Fallback>
                <p:oleObj name="think-cell Slide" r:id="rId5" imgW="306" imgH="306" progId="TCLayout.ActiveDocument.1">
                  <p:embed/>
                  <p:pic>
                    <p:nvPicPr>
                      <p:cNvPr id="9" name="Object 8" hidden="1">
                        <a:extLst>
                          <a:ext uri="{FF2B5EF4-FFF2-40B4-BE49-F238E27FC236}">
                            <a16:creationId xmlns:a16="http://schemas.microsoft.com/office/drawing/2014/main" id="{B639C6F3-B410-40C2-AB33-47DDBB8D25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Bildplatzhalter 4">
            <a:extLst>
              <a:ext uri="{FF2B5EF4-FFF2-40B4-BE49-F238E27FC236}">
                <a16:creationId xmlns:a16="http://schemas.microsoft.com/office/drawing/2014/main" id="{2C36AB55-FC13-42D7-A6A2-9F7258689115}"/>
              </a:ext>
            </a:extLst>
          </p:cNvPr>
          <p:cNvPicPr>
            <a:picLocks noGrp="1" noChangeAspect="1"/>
          </p:cNvPicPr>
          <p:nvPr>
            <p:ph type="pic" sz="quarter" idx="18"/>
          </p:nvPr>
        </p:nvPicPr>
        <p:blipFill>
          <a:blip r:embed="rId7" cstate="screen">
            <a:extLst>
              <a:ext uri="{28A0092B-C50C-407E-A947-70E740481C1C}">
                <a14:useLocalDpi xmlns:a14="http://schemas.microsoft.com/office/drawing/2010/main"/>
              </a:ext>
            </a:extLst>
          </a:blip>
          <a:srcRect/>
          <a:stretch>
            <a:fillRect/>
          </a:stretch>
        </p:blipFill>
        <p:spPr>
          <a:xfrm>
            <a:off x="0" y="3176"/>
            <a:ext cx="9144000" cy="5143500"/>
          </a:xfrm>
        </p:spPr>
      </p:pic>
      <p:sp>
        <p:nvSpPr>
          <p:cNvPr id="7" name="Title 6">
            <a:extLst>
              <a:ext uri="{FF2B5EF4-FFF2-40B4-BE49-F238E27FC236}">
                <a16:creationId xmlns:a16="http://schemas.microsoft.com/office/drawing/2014/main" id="{E2FBE653-A3CC-4BF6-9FA9-2C9A10365D95}"/>
              </a:ext>
            </a:extLst>
          </p:cNvPr>
          <p:cNvSpPr>
            <a:spLocks noGrp="1"/>
          </p:cNvSpPr>
          <p:nvPr>
            <p:ph type="ctrTitle"/>
          </p:nvPr>
        </p:nvSpPr>
        <p:spPr>
          <a:xfrm>
            <a:off x="366713" y="2880355"/>
            <a:ext cx="8410575" cy="1851664"/>
          </a:xfrm>
        </p:spPr>
        <p:txBody>
          <a:bodyPr vert="horz"/>
          <a:lstStyle/>
          <a:p>
            <a:r>
              <a:rPr lang="de-DE" dirty="0"/>
              <a:t>Kinder- und Jugendzentrum </a:t>
            </a:r>
            <a:br>
              <a:rPr lang="de-DE" dirty="0"/>
            </a:br>
            <a:r>
              <a:rPr lang="de-DE" dirty="0"/>
              <a:t>der Salesianer Don-Bosco </a:t>
            </a:r>
            <a:br>
              <a:rPr lang="de-DE" dirty="0"/>
            </a:br>
            <a:r>
              <a:rPr lang="de-DE" dirty="0"/>
              <a:t>in Damaskus, Syrien</a:t>
            </a:r>
          </a:p>
        </p:txBody>
      </p:sp>
      <p:sp>
        <p:nvSpPr>
          <p:cNvPr id="6" name="Text Placeholder 11">
            <a:extLst>
              <a:ext uri="{FF2B5EF4-FFF2-40B4-BE49-F238E27FC236}">
                <a16:creationId xmlns:a16="http://schemas.microsoft.com/office/drawing/2014/main" id="{CC0C1A55-E6D4-4BE5-9537-0E2B61D455C3}"/>
              </a:ext>
            </a:extLst>
          </p:cNvPr>
          <p:cNvSpPr txBox="1">
            <a:spLocks/>
          </p:cNvSpPr>
          <p:nvPr/>
        </p:nvSpPr>
        <p:spPr>
          <a:xfrm>
            <a:off x="5879556" y="4949373"/>
            <a:ext cx="1522412" cy="204787"/>
          </a:xfrm>
          <a:prstGeom prst="rect">
            <a:avLst/>
          </a:prstGeom>
        </p:spPr>
        <p:txBody>
          <a:bodyPr/>
          <a:lstStyle>
            <a:lvl1pPr marL="225425" indent="-225425"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Char char="•"/>
              <a:defRPr sz="1400" kern="1200">
                <a:solidFill>
                  <a:schemeClr val="tx1"/>
                </a:solidFill>
                <a:latin typeface="+mn-lt"/>
                <a:ea typeface="+mn-ea"/>
                <a:cs typeface="+mn-cs"/>
              </a:defRPr>
            </a:lvl1pPr>
            <a:lvl2pPr marL="457200" indent="-225425" algn="l" defTabSz="914400" rtl="0" eaLnBrk="1" latinLnBrk="0" hangingPunct="1">
              <a:lnSpc>
                <a:spcPct val="100000"/>
              </a:lnSpc>
              <a:spcBef>
                <a:spcPts val="0"/>
              </a:spcBef>
              <a:spcAft>
                <a:spcPts val="800"/>
              </a:spcAft>
              <a:buClr>
                <a:schemeClr val="accent6"/>
              </a:buClr>
              <a:buFont typeface="+mj-lt"/>
              <a:buAutoNum type="arabicPeriod"/>
              <a:defRPr sz="1400" kern="1200">
                <a:solidFill>
                  <a:schemeClr val="tx1"/>
                </a:solidFill>
                <a:latin typeface="+mn-lt"/>
                <a:ea typeface="+mn-ea"/>
                <a:cs typeface="+mn-cs"/>
              </a:defRPr>
            </a:lvl2pPr>
            <a:lvl3pPr marL="685800" indent="-225425" algn="l" defTabSz="914400" rtl="0" eaLnBrk="1" latinLnBrk="0" hangingPunct="1">
              <a:lnSpc>
                <a:spcPct val="100000"/>
              </a:lnSpc>
              <a:spcBef>
                <a:spcPts val="0"/>
              </a:spcBef>
              <a:spcAft>
                <a:spcPts val="800"/>
              </a:spcAft>
              <a:buClr>
                <a:schemeClr val="accent6"/>
              </a:buClr>
              <a:buFont typeface="+mj-lt"/>
              <a:buAutoNum type="alphaLcPeriod"/>
              <a:defRPr sz="1400" b="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800"/>
              </a:spcAft>
              <a:buFont typeface="Arial" panose="020B0604020202020204" pitchFamily="34" charset="0"/>
              <a:buNone/>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800"/>
              </a:spcAft>
              <a:buFont typeface="Arial" panose="020B0604020202020204" pitchFamily="34" charset="0"/>
              <a:buNone/>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600" dirty="0"/>
              <a:t>Foto: © Friedrich Stark/missio München </a:t>
            </a:r>
          </a:p>
        </p:txBody>
      </p:sp>
    </p:spTree>
    <p:extLst>
      <p:ext uri="{BB962C8B-B14F-4D97-AF65-F5344CB8AC3E}">
        <p14:creationId xmlns:p14="http://schemas.microsoft.com/office/powerpoint/2010/main" val="15879554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639C6F3-B410-40C2-AB33-47DDBB8D252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51" name="think-cell Slide" r:id="rId5" imgW="306" imgH="306" progId="TCLayout.ActiveDocument.1">
                  <p:embed/>
                </p:oleObj>
              </mc:Choice>
              <mc:Fallback>
                <p:oleObj name="think-cell Slide" r:id="rId5" imgW="306" imgH="306" progId="TCLayout.ActiveDocument.1">
                  <p:embed/>
                  <p:pic>
                    <p:nvPicPr>
                      <p:cNvPr id="9" name="Object 8" hidden="1">
                        <a:extLst>
                          <a:ext uri="{FF2B5EF4-FFF2-40B4-BE49-F238E27FC236}">
                            <a16:creationId xmlns:a16="http://schemas.microsoft.com/office/drawing/2014/main" id="{B639C6F3-B410-40C2-AB33-47DDBB8D25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Bildplatzhalter 4">
            <a:extLst>
              <a:ext uri="{FF2B5EF4-FFF2-40B4-BE49-F238E27FC236}">
                <a16:creationId xmlns:a16="http://schemas.microsoft.com/office/drawing/2014/main" id="{2C36AB55-FC13-42D7-A6A2-9F7258689115}"/>
              </a:ext>
            </a:extLst>
          </p:cNvPr>
          <p:cNvPicPr>
            <a:picLocks noGrp="1" noChangeAspect="1"/>
          </p:cNvPicPr>
          <p:nvPr>
            <p:ph type="pic" sz="quarter" idx="18"/>
          </p:nvPr>
        </p:nvPicPr>
        <p:blipFill>
          <a:blip r:embed="rId7" cstate="screen">
            <a:extLst>
              <a:ext uri="{28A0092B-C50C-407E-A947-70E740481C1C}">
                <a14:useLocalDpi xmlns:a14="http://schemas.microsoft.com/office/drawing/2010/main"/>
              </a:ext>
            </a:extLst>
          </a:blip>
          <a:srcRect/>
          <a:stretch>
            <a:fillRect/>
          </a:stretch>
        </p:blipFill>
        <p:spPr>
          <a:xfrm>
            <a:off x="0" y="3176"/>
            <a:ext cx="9144000" cy="5143500"/>
          </a:xfrm>
        </p:spPr>
      </p:pic>
      <p:sp>
        <p:nvSpPr>
          <p:cNvPr id="7" name="Title 6">
            <a:extLst>
              <a:ext uri="{FF2B5EF4-FFF2-40B4-BE49-F238E27FC236}">
                <a16:creationId xmlns:a16="http://schemas.microsoft.com/office/drawing/2014/main" id="{E2FBE653-A3CC-4BF6-9FA9-2C9A10365D95}"/>
              </a:ext>
            </a:extLst>
          </p:cNvPr>
          <p:cNvSpPr>
            <a:spLocks noGrp="1"/>
          </p:cNvSpPr>
          <p:nvPr>
            <p:ph type="ctrTitle"/>
          </p:nvPr>
        </p:nvSpPr>
        <p:spPr>
          <a:xfrm>
            <a:off x="366713" y="2880355"/>
            <a:ext cx="8410575" cy="1851664"/>
          </a:xfrm>
        </p:spPr>
        <p:txBody>
          <a:bodyPr vert="horz"/>
          <a:lstStyle/>
          <a:p>
            <a:pPr>
              <a:spcBef>
                <a:spcPts val="1200"/>
              </a:spcBef>
            </a:pPr>
            <a:r>
              <a:rPr lang="de-DE" sz="3200" dirty="0"/>
              <a:t>Danke für eure unterstützung!!!</a:t>
            </a:r>
          </a:p>
        </p:txBody>
      </p:sp>
      <p:sp>
        <p:nvSpPr>
          <p:cNvPr id="2" name="Textfeld 1">
            <a:extLst>
              <a:ext uri="{FF2B5EF4-FFF2-40B4-BE49-F238E27FC236}">
                <a16:creationId xmlns:a16="http://schemas.microsoft.com/office/drawing/2014/main" id="{54FCC143-3D4E-4181-928F-5F4B8C536128}"/>
              </a:ext>
            </a:extLst>
          </p:cNvPr>
          <p:cNvSpPr txBox="1"/>
          <p:nvPr/>
        </p:nvSpPr>
        <p:spPr>
          <a:xfrm>
            <a:off x="3108960" y="1841863"/>
            <a:ext cx="914400" cy="914400"/>
          </a:xfrm>
          <a:prstGeom prst="rect">
            <a:avLst/>
          </a:prstGeom>
          <a:noFill/>
        </p:spPr>
        <p:txBody>
          <a:bodyPr wrap="none" lIns="0" tIns="0" rIns="0" bIns="0" rtlCol="0" anchor="t" anchorCtr="0">
            <a:noAutofit/>
          </a:bodyPr>
          <a:lstStyle/>
          <a:p>
            <a:pPr marL="225425" indent="-225425" algn="l">
              <a:spcAft>
                <a:spcPts val="800"/>
              </a:spcAft>
              <a:buClr>
                <a:schemeClr val="accent6"/>
              </a:buClr>
              <a:buSzPct val="110000"/>
              <a:buFont typeface="Arial" panose="020B0604020202020204" pitchFamily="34" charset="0"/>
              <a:buChar char="•"/>
            </a:pPr>
            <a:endParaRPr lang="de-DE" sz="1400" dirty="0" err="1"/>
          </a:p>
        </p:txBody>
      </p:sp>
      <p:sp>
        <p:nvSpPr>
          <p:cNvPr id="6" name="Text Placeholder 11">
            <a:extLst>
              <a:ext uri="{FF2B5EF4-FFF2-40B4-BE49-F238E27FC236}">
                <a16:creationId xmlns:a16="http://schemas.microsoft.com/office/drawing/2014/main" id="{F76B8AF3-D2BD-4C22-A621-697AFD09E16C}"/>
              </a:ext>
            </a:extLst>
          </p:cNvPr>
          <p:cNvSpPr txBox="1">
            <a:spLocks/>
          </p:cNvSpPr>
          <p:nvPr/>
        </p:nvSpPr>
        <p:spPr>
          <a:xfrm>
            <a:off x="5879556" y="4949373"/>
            <a:ext cx="1522412" cy="204787"/>
          </a:xfrm>
          <a:prstGeom prst="rect">
            <a:avLst/>
          </a:prstGeom>
        </p:spPr>
        <p:txBody>
          <a:bodyPr/>
          <a:lstStyle>
            <a:lvl1pPr marL="225425" indent="-225425"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Char char="•"/>
              <a:defRPr sz="1400" kern="1200">
                <a:solidFill>
                  <a:schemeClr val="tx1"/>
                </a:solidFill>
                <a:latin typeface="+mn-lt"/>
                <a:ea typeface="+mn-ea"/>
                <a:cs typeface="+mn-cs"/>
              </a:defRPr>
            </a:lvl1pPr>
            <a:lvl2pPr marL="457200" indent="-225425" algn="l" defTabSz="914400" rtl="0" eaLnBrk="1" latinLnBrk="0" hangingPunct="1">
              <a:lnSpc>
                <a:spcPct val="100000"/>
              </a:lnSpc>
              <a:spcBef>
                <a:spcPts val="0"/>
              </a:spcBef>
              <a:spcAft>
                <a:spcPts val="800"/>
              </a:spcAft>
              <a:buClr>
                <a:schemeClr val="accent6"/>
              </a:buClr>
              <a:buFont typeface="+mj-lt"/>
              <a:buAutoNum type="arabicPeriod"/>
              <a:defRPr sz="1400" kern="1200">
                <a:solidFill>
                  <a:schemeClr val="tx1"/>
                </a:solidFill>
                <a:latin typeface="+mn-lt"/>
                <a:ea typeface="+mn-ea"/>
                <a:cs typeface="+mn-cs"/>
              </a:defRPr>
            </a:lvl2pPr>
            <a:lvl3pPr marL="685800" indent="-225425" algn="l" defTabSz="914400" rtl="0" eaLnBrk="1" latinLnBrk="0" hangingPunct="1">
              <a:lnSpc>
                <a:spcPct val="100000"/>
              </a:lnSpc>
              <a:spcBef>
                <a:spcPts val="0"/>
              </a:spcBef>
              <a:spcAft>
                <a:spcPts val="800"/>
              </a:spcAft>
              <a:buClr>
                <a:schemeClr val="accent6"/>
              </a:buClr>
              <a:buFont typeface="+mj-lt"/>
              <a:buAutoNum type="alphaLcPeriod"/>
              <a:defRPr sz="1400" b="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800"/>
              </a:spcAft>
              <a:buFont typeface="Arial" panose="020B0604020202020204" pitchFamily="34" charset="0"/>
              <a:buNone/>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800"/>
              </a:spcAft>
              <a:buFont typeface="Arial" panose="020B0604020202020204" pitchFamily="34" charset="0"/>
              <a:buNone/>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600" dirty="0"/>
              <a:t>Foto: © Friedrich Stark/missio München </a:t>
            </a:r>
          </a:p>
        </p:txBody>
      </p:sp>
    </p:spTree>
    <p:extLst>
      <p:ext uri="{BB962C8B-B14F-4D97-AF65-F5344CB8AC3E}">
        <p14:creationId xmlns:p14="http://schemas.microsoft.com/office/powerpoint/2010/main" val="25118920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B69E479-D0AF-4D1C-BF6C-766331331341}"/>
              </a:ext>
            </a:extLst>
          </p:cNvPr>
          <p:cNvGraphicFramePr>
            <a:graphicFrameLocks noChangeAspect="1"/>
          </p:cNvGraphicFramePr>
          <p:nvPr>
            <p:custDataLst>
              <p:tags r:id="rId2"/>
            </p:custDataLst>
            <p:extLst>
              <p:ext uri="{D42A27DB-BD31-4B8C-83A1-F6EECF244321}">
                <p14:modId xmlns:p14="http://schemas.microsoft.com/office/powerpoint/2010/main" val="4087890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88"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EB69E479-D0AF-4D1C-BF6C-7663313313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a:extLst>
              <a:ext uri="{FF2B5EF4-FFF2-40B4-BE49-F238E27FC236}">
                <a16:creationId xmlns:a16="http://schemas.microsoft.com/office/drawing/2014/main" id="{829BAEB4-E45E-6D47-9AAF-63E8ABA28F07}"/>
              </a:ext>
            </a:extLst>
          </p:cNvPr>
          <p:cNvPicPr>
            <a:picLocks noGrp="1" noChangeAspect="1"/>
          </p:cNvPicPr>
          <p:nvPr>
            <p:ph type="pic" sz="quarter" idx="18"/>
          </p:nvPr>
        </p:nvPicPr>
        <p:blipFill>
          <a:blip r:embed="rId6" cstate="screen">
            <a:extLst>
              <a:ext uri="{28A0092B-C50C-407E-A947-70E740481C1C}">
                <a14:useLocalDpi xmlns:a14="http://schemas.microsoft.com/office/drawing/2010/main"/>
              </a:ext>
            </a:extLst>
          </a:blip>
          <a:stretch>
            <a:fillRect/>
          </a:stretch>
        </p:blipFill>
        <p:spPr>
          <a:xfrm>
            <a:off x="3176" y="3176"/>
            <a:ext cx="9140824" cy="5143500"/>
          </a:xfrm>
          <a:solidFill>
            <a:schemeClr val="bg1">
              <a:lumMod val="85000"/>
            </a:schemeClr>
          </a:solidFill>
        </p:spPr>
      </p:pic>
      <p:sp>
        <p:nvSpPr>
          <p:cNvPr id="7" name="Title 6">
            <a:extLst>
              <a:ext uri="{FF2B5EF4-FFF2-40B4-BE49-F238E27FC236}">
                <a16:creationId xmlns:a16="http://schemas.microsoft.com/office/drawing/2014/main" id="{D8ADA7E1-38B3-4B60-9900-0B38E131FB7C}"/>
              </a:ext>
            </a:extLst>
          </p:cNvPr>
          <p:cNvSpPr>
            <a:spLocks noGrp="1"/>
          </p:cNvSpPr>
          <p:nvPr>
            <p:ph type="ctrTitle"/>
          </p:nvPr>
        </p:nvSpPr>
        <p:spPr>
          <a:xfrm flipH="1">
            <a:off x="4572000" y="617538"/>
            <a:ext cx="4205286" cy="4114481"/>
          </a:xfrm>
          <a:solidFill>
            <a:schemeClr val="accent5">
              <a:alpha val="80000"/>
            </a:schemeClr>
          </a:solidFill>
        </p:spPr>
        <p:txBody>
          <a:bodyPr vert="horz"/>
          <a:lstStyle/>
          <a:p>
            <a:r>
              <a:rPr lang="de-DE" dirty="0"/>
              <a:t>Lernen, Spielen und Gemeinschaft erfahren in einem sicheren Umfeld für  Kinder und Jugendliche</a:t>
            </a:r>
            <a:br>
              <a:rPr lang="de-DE" dirty="0"/>
            </a:br>
            <a:br>
              <a:rPr lang="de-DE" dirty="0"/>
            </a:br>
            <a:endParaRPr lang="en-US" dirty="0"/>
          </a:p>
        </p:txBody>
      </p:sp>
      <p:sp>
        <p:nvSpPr>
          <p:cNvPr id="8" name="Text Placeholder 7">
            <a:extLst>
              <a:ext uri="{FF2B5EF4-FFF2-40B4-BE49-F238E27FC236}">
                <a16:creationId xmlns:a16="http://schemas.microsoft.com/office/drawing/2014/main" id="{83A87222-7D1B-413B-AED5-A522D0EBF14D}"/>
              </a:ext>
            </a:extLst>
          </p:cNvPr>
          <p:cNvSpPr>
            <a:spLocks noGrp="1"/>
          </p:cNvSpPr>
          <p:nvPr>
            <p:ph type="body" sz="quarter" idx="20"/>
          </p:nvPr>
        </p:nvSpPr>
        <p:spPr>
          <a:xfrm>
            <a:off x="5119688" y="1795094"/>
            <a:ext cx="3294062" cy="2673350"/>
          </a:xfrm>
        </p:spPr>
        <p:txBody>
          <a:bodyPr/>
          <a:lstStyle/>
          <a:p>
            <a:endParaRPr lang="de-DE" dirty="0"/>
          </a:p>
          <a:p>
            <a:endParaRPr lang="de-DE" dirty="0"/>
          </a:p>
          <a:p>
            <a:r>
              <a:rPr lang="de-DE" dirty="0"/>
              <a:t>„Wir unterstützen junge Menschen sozial, emotional und spirituell. So können sie gestärkt ihren Alltag meistern und ihre Zukunft auf ein gutes Fundament bauen.“</a:t>
            </a:r>
          </a:p>
          <a:p>
            <a:r>
              <a:rPr lang="de-DE" sz="1050" dirty="0"/>
              <a:t>Pater Miguel Ángel </a:t>
            </a:r>
            <a:r>
              <a:rPr lang="de-DE" sz="1050" dirty="0" err="1"/>
              <a:t>Condo</a:t>
            </a:r>
            <a:r>
              <a:rPr lang="de-DE" sz="1050" dirty="0"/>
              <a:t> Soto SDB,</a:t>
            </a:r>
          </a:p>
          <a:p>
            <a:r>
              <a:rPr lang="de-DE" sz="1050" dirty="0"/>
              <a:t>missio-Projektpartner und </a:t>
            </a:r>
            <a:r>
              <a:rPr lang="de-DE" sz="1050" dirty="0" err="1"/>
              <a:t>Salesianerpater</a:t>
            </a:r>
            <a:r>
              <a:rPr lang="de-DE" sz="1050" dirty="0"/>
              <a:t> im Don-Bosco-Zentrum in Syrien</a:t>
            </a:r>
          </a:p>
        </p:txBody>
      </p:sp>
      <p:sp>
        <p:nvSpPr>
          <p:cNvPr id="10" name="Text Placeholder 11">
            <a:extLst>
              <a:ext uri="{FF2B5EF4-FFF2-40B4-BE49-F238E27FC236}">
                <a16:creationId xmlns:a16="http://schemas.microsoft.com/office/drawing/2014/main" id="{35183A68-B3F8-4F69-8093-CFFEFC51B540}"/>
              </a:ext>
            </a:extLst>
          </p:cNvPr>
          <p:cNvSpPr txBox="1">
            <a:spLocks/>
          </p:cNvSpPr>
          <p:nvPr/>
        </p:nvSpPr>
        <p:spPr>
          <a:xfrm>
            <a:off x="3176" y="4810195"/>
            <a:ext cx="1703433" cy="204787"/>
          </a:xfrm>
          <a:prstGeom prst="rect">
            <a:avLst/>
          </a:prstGeom>
        </p:spPr>
        <p:txBody>
          <a:bodyPr/>
          <a:lstStyle>
            <a:lvl1pPr marL="225425" indent="-225425" algn="l" defTabSz="914400" rtl="0" eaLnBrk="1" latinLnBrk="0" hangingPunct="1">
              <a:lnSpc>
                <a:spcPct val="100000"/>
              </a:lnSpc>
              <a:spcBef>
                <a:spcPts val="0"/>
              </a:spcBef>
              <a:spcAft>
                <a:spcPts val="800"/>
              </a:spcAft>
              <a:buClr>
                <a:schemeClr val="accent6"/>
              </a:buClr>
              <a:buSzPct val="110000"/>
              <a:buFont typeface="Arial" panose="020B0604020202020204" pitchFamily="34" charset="0"/>
              <a:buChar char="•"/>
              <a:defRPr sz="1400" kern="1200">
                <a:solidFill>
                  <a:schemeClr val="tx1"/>
                </a:solidFill>
                <a:latin typeface="+mn-lt"/>
                <a:ea typeface="+mn-ea"/>
                <a:cs typeface="+mn-cs"/>
              </a:defRPr>
            </a:lvl1pPr>
            <a:lvl2pPr marL="457200" indent="-225425" algn="l" defTabSz="914400" rtl="0" eaLnBrk="1" latinLnBrk="0" hangingPunct="1">
              <a:lnSpc>
                <a:spcPct val="100000"/>
              </a:lnSpc>
              <a:spcBef>
                <a:spcPts val="0"/>
              </a:spcBef>
              <a:spcAft>
                <a:spcPts val="800"/>
              </a:spcAft>
              <a:buClr>
                <a:schemeClr val="accent6"/>
              </a:buClr>
              <a:buFont typeface="+mj-lt"/>
              <a:buAutoNum type="arabicPeriod"/>
              <a:defRPr sz="1400" kern="1200">
                <a:solidFill>
                  <a:schemeClr val="tx1"/>
                </a:solidFill>
                <a:latin typeface="+mn-lt"/>
                <a:ea typeface="+mn-ea"/>
                <a:cs typeface="+mn-cs"/>
              </a:defRPr>
            </a:lvl2pPr>
            <a:lvl3pPr marL="685800" indent="-225425" algn="l" defTabSz="914400" rtl="0" eaLnBrk="1" latinLnBrk="0" hangingPunct="1">
              <a:lnSpc>
                <a:spcPct val="100000"/>
              </a:lnSpc>
              <a:spcBef>
                <a:spcPts val="0"/>
              </a:spcBef>
              <a:spcAft>
                <a:spcPts val="800"/>
              </a:spcAft>
              <a:buClr>
                <a:schemeClr val="accent6"/>
              </a:buClr>
              <a:buFont typeface="+mj-lt"/>
              <a:buAutoNum type="alphaLcPeriod"/>
              <a:defRPr sz="1400" b="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800"/>
              </a:spcAft>
              <a:buFont typeface="Arial" panose="020B0604020202020204" pitchFamily="34" charset="0"/>
              <a:buNone/>
              <a:defRPr sz="140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800"/>
              </a:spcAft>
              <a:buFont typeface="Arial" panose="020B0604020202020204" pitchFamily="34" charset="0"/>
              <a:buNone/>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600" dirty="0"/>
              <a:t>Foto: © Friedrich Stark/missio München </a:t>
            </a:r>
          </a:p>
        </p:txBody>
      </p:sp>
    </p:spTree>
    <p:extLst>
      <p:ext uri="{BB962C8B-B14F-4D97-AF65-F5344CB8AC3E}">
        <p14:creationId xmlns:p14="http://schemas.microsoft.com/office/powerpoint/2010/main" val="6808985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6BC315B-007F-4B83-B30C-81AD986E72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0030"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96BC315B-007F-4B83-B30C-81AD986E72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35D590-5062-47AC-B5D6-22A802FB12C0}"/>
              </a:ext>
            </a:extLst>
          </p:cNvPr>
          <p:cNvSpPr>
            <a:spLocks noGrp="1"/>
          </p:cNvSpPr>
          <p:nvPr>
            <p:ph type="title"/>
          </p:nvPr>
        </p:nvSpPr>
        <p:spPr>
          <a:xfrm>
            <a:off x="731839" y="69363"/>
            <a:ext cx="6216649" cy="533543"/>
          </a:xfrm>
        </p:spPr>
        <p:txBody>
          <a:bodyPr/>
          <a:lstStyle/>
          <a:p>
            <a:r>
              <a:rPr lang="de-DE" dirty="0"/>
              <a:t>Die Salesianer Don Boscos in Damaskus</a:t>
            </a:r>
          </a:p>
        </p:txBody>
      </p:sp>
      <p:sp>
        <p:nvSpPr>
          <p:cNvPr id="13" name="Slide Number Placeholder 12">
            <a:extLst>
              <a:ext uri="{FF2B5EF4-FFF2-40B4-BE49-F238E27FC236}">
                <a16:creationId xmlns:a16="http://schemas.microsoft.com/office/drawing/2014/main" id="{7EBDD693-4402-4258-A5E8-21260FC7728B}"/>
              </a:ext>
            </a:extLst>
          </p:cNvPr>
          <p:cNvSpPr>
            <a:spLocks noGrp="1"/>
          </p:cNvSpPr>
          <p:nvPr>
            <p:ph type="sldNum" sz="quarter" idx="12"/>
          </p:nvPr>
        </p:nvSpPr>
        <p:spPr/>
        <p:txBody>
          <a:bodyPr/>
          <a:lstStyle/>
          <a:p>
            <a:fld id="{61A237A4-5F56-495D-ADE9-563CDE6DCB6B}" type="slidenum">
              <a:rPr lang="de-DE" smtClean="0"/>
              <a:pPr/>
              <a:t>3</a:t>
            </a:fld>
            <a:endParaRPr lang="de-DE"/>
          </a:p>
        </p:txBody>
      </p:sp>
      <p:sp>
        <p:nvSpPr>
          <p:cNvPr id="3" name="Text Placeholder 2">
            <a:extLst>
              <a:ext uri="{FF2B5EF4-FFF2-40B4-BE49-F238E27FC236}">
                <a16:creationId xmlns:a16="http://schemas.microsoft.com/office/drawing/2014/main" id="{D09D97CC-9731-4266-8D24-C7B3DB00B7F7}"/>
              </a:ext>
            </a:extLst>
          </p:cNvPr>
          <p:cNvSpPr>
            <a:spLocks noGrp="1"/>
          </p:cNvSpPr>
          <p:nvPr>
            <p:ph type="body" sz="quarter" idx="13"/>
          </p:nvPr>
        </p:nvSpPr>
        <p:spPr>
          <a:xfrm>
            <a:off x="733425" y="765353"/>
            <a:ext cx="3524021" cy="3762755"/>
          </a:xfrm>
        </p:spPr>
        <p:txBody>
          <a:bodyPr/>
          <a:lstStyle/>
          <a:p>
            <a:pPr marL="0" indent="0">
              <a:buNone/>
            </a:pPr>
            <a:endParaRPr lang="de-DE" dirty="0"/>
          </a:p>
          <a:p>
            <a:pPr marL="0" indent="0">
              <a:buNone/>
            </a:pPr>
            <a:endParaRPr lang="de-DE" dirty="0"/>
          </a:p>
          <a:p>
            <a:pPr marL="0" indent="0">
              <a:lnSpc>
                <a:spcPct val="150000"/>
              </a:lnSpc>
              <a:buNone/>
            </a:pPr>
            <a:r>
              <a:rPr lang="de-DE" dirty="0"/>
              <a:t>Die Salesianer sind seit 1992 in Syrien präsent und führen Freizeitaktivitäten für Kinder durch. Seit Beginn des Krieges hat sich die Nachfrage nach ihren pädagogischen, seelsorgerischen und humanitären Programmen drastisch erhöht. </a:t>
            </a:r>
          </a:p>
        </p:txBody>
      </p:sp>
      <p:sp>
        <p:nvSpPr>
          <p:cNvPr id="12" name="Text Placeholder 11">
            <a:extLst>
              <a:ext uri="{FF2B5EF4-FFF2-40B4-BE49-F238E27FC236}">
                <a16:creationId xmlns:a16="http://schemas.microsoft.com/office/drawing/2014/main" id="{FE3848C3-6EB1-4DF5-8C7B-925B24B1D1E6}"/>
              </a:ext>
            </a:extLst>
          </p:cNvPr>
          <p:cNvSpPr>
            <a:spLocks noGrp="1"/>
          </p:cNvSpPr>
          <p:nvPr>
            <p:ph type="body" sz="quarter" idx="14"/>
          </p:nvPr>
        </p:nvSpPr>
        <p:spPr/>
        <p:txBody>
          <a:bodyPr/>
          <a:lstStyle/>
          <a:p>
            <a:r>
              <a:rPr lang="de-DE" dirty="0"/>
              <a:t>Foto: © Friedrich Stark/missio München </a:t>
            </a:r>
          </a:p>
        </p:txBody>
      </p:sp>
      <p:pic>
        <p:nvPicPr>
          <p:cNvPr id="7" name="Bildplatzhalter 6">
            <a:extLst>
              <a:ext uri="{FF2B5EF4-FFF2-40B4-BE49-F238E27FC236}">
                <a16:creationId xmlns:a16="http://schemas.microsoft.com/office/drawing/2014/main" id="{2B5FDE1C-4EB6-463E-A99E-AF9F99504BA7}"/>
              </a:ext>
            </a:extLst>
          </p:cNvPr>
          <p:cNvPicPr>
            <a:picLocks noGrp="1" noChangeAspect="1"/>
          </p:cNvPicPr>
          <p:nvPr>
            <p:ph type="pic" sz="quarter" idx="18"/>
          </p:nvPr>
        </p:nvPicPr>
        <p:blipFill>
          <a:blip r:embed="rId7"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614551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6BC315B-007F-4B83-B30C-81AD986E72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7985"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96BC315B-007F-4B83-B30C-81AD986E72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35D590-5062-47AC-B5D6-22A802FB12C0}"/>
              </a:ext>
            </a:extLst>
          </p:cNvPr>
          <p:cNvSpPr>
            <a:spLocks noGrp="1"/>
          </p:cNvSpPr>
          <p:nvPr>
            <p:ph type="title"/>
          </p:nvPr>
        </p:nvSpPr>
        <p:spPr>
          <a:xfrm>
            <a:off x="731839" y="69363"/>
            <a:ext cx="6216649" cy="533543"/>
          </a:xfrm>
        </p:spPr>
        <p:txBody>
          <a:bodyPr/>
          <a:lstStyle/>
          <a:p>
            <a:r>
              <a:rPr lang="de-DE" dirty="0"/>
              <a:t>Die Situation vor Ort</a:t>
            </a:r>
          </a:p>
        </p:txBody>
      </p:sp>
      <p:sp>
        <p:nvSpPr>
          <p:cNvPr id="13" name="Slide Number Placeholder 12">
            <a:extLst>
              <a:ext uri="{FF2B5EF4-FFF2-40B4-BE49-F238E27FC236}">
                <a16:creationId xmlns:a16="http://schemas.microsoft.com/office/drawing/2014/main" id="{7EBDD693-4402-4258-A5E8-21260FC7728B}"/>
              </a:ext>
            </a:extLst>
          </p:cNvPr>
          <p:cNvSpPr>
            <a:spLocks noGrp="1"/>
          </p:cNvSpPr>
          <p:nvPr>
            <p:ph type="sldNum" sz="quarter" idx="12"/>
          </p:nvPr>
        </p:nvSpPr>
        <p:spPr/>
        <p:txBody>
          <a:bodyPr/>
          <a:lstStyle/>
          <a:p>
            <a:fld id="{61A237A4-5F56-495D-ADE9-563CDE6DCB6B}" type="slidenum">
              <a:rPr lang="de-DE" smtClean="0"/>
              <a:pPr/>
              <a:t>4</a:t>
            </a:fld>
            <a:endParaRPr lang="de-DE"/>
          </a:p>
        </p:txBody>
      </p:sp>
      <p:sp>
        <p:nvSpPr>
          <p:cNvPr id="3" name="Text Placeholder 2">
            <a:extLst>
              <a:ext uri="{FF2B5EF4-FFF2-40B4-BE49-F238E27FC236}">
                <a16:creationId xmlns:a16="http://schemas.microsoft.com/office/drawing/2014/main" id="{D09D97CC-9731-4266-8D24-C7B3DB00B7F7}"/>
              </a:ext>
            </a:extLst>
          </p:cNvPr>
          <p:cNvSpPr>
            <a:spLocks noGrp="1"/>
          </p:cNvSpPr>
          <p:nvPr>
            <p:ph type="body" sz="quarter" idx="13"/>
          </p:nvPr>
        </p:nvSpPr>
        <p:spPr>
          <a:xfrm>
            <a:off x="733425" y="765353"/>
            <a:ext cx="3524021" cy="3762755"/>
          </a:xfrm>
        </p:spPr>
        <p:txBody>
          <a:bodyPr/>
          <a:lstStyle/>
          <a:p>
            <a:pPr marL="0" indent="0">
              <a:lnSpc>
                <a:spcPct val="150000"/>
              </a:lnSpc>
              <a:buNone/>
            </a:pPr>
            <a:r>
              <a:rPr lang="de-DE" sz="1200" dirty="0">
                <a:solidFill>
                  <a:srgbClr val="FF0000"/>
                </a:solidFill>
              </a:rPr>
              <a:t>Zwölf Jahre </a:t>
            </a:r>
            <a:r>
              <a:rPr lang="de-DE" sz="1200" dirty="0"/>
              <a:t>nach Beginn des Bürgerkrieges in Syrien ist das einstmals gut funktionierende </a:t>
            </a:r>
            <a:r>
              <a:rPr lang="de-DE" sz="1200" b="1" dirty="0">
                <a:solidFill>
                  <a:srgbClr val="FF0000"/>
                </a:solidFill>
              </a:rPr>
              <a:t>Bildungswesen nahezu zum Erliegen </a:t>
            </a:r>
            <a:r>
              <a:rPr lang="de-DE" sz="1200" dirty="0"/>
              <a:t>gekommen. Über 7.000 Schulen landesweit können nicht mehr für den Schulbetrieb genutzt werden, weil sie entweder beschädigt oder zerstört sind oder als Obdach für Binnenvertriebene dienen. Zirka drei Millionen Kinder in Syrien können nicht in die Schule gehen. Dort, wo die Schulen noch in Betrieb sind, können vertriebene Kinder wegen Überfüllung nicht eingeschult werden. Darüber hinaus werden viele Kinder zwischen 15 und 17 Jahren gezwungen, die Schule zu verlassen, um zu arbeiten oder sogar eine Kinderehe einzugehen. </a:t>
            </a:r>
            <a:endParaRPr lang="de-DE" sz="900" dirty="0"/>
          </a:p>
        </p:txBody>
      </p:sp>
      <p:sp>
        <p:nvSpPr>
          <p:cNvPr id="12" name="Text Placeholder 11">
            <a:extLst>
              <a:ext uri="{FF2B5EF4-FFF2-40B4-BE49-F238E27FC236}">
                <a16:creationId xmlns:a16="http://schemas.microsoft.com/office/drawing/2014/main" id="{FE3848C3-6EB1-4DF5-8C7B-925B24B1D1E6}"/>
              </a:ext>
            </a:extLst>
          </p:cNvPr>
          <p:cNvSpPr>
            <a:spLocks noGrp="1"/>
          </p:cNvSpPr>
          <p:nvPr>
            <p:ph type="body" sz="quarter" idx="14"/>
          </p:nvPr>
        </p:nvSpPr>
        <p:spPr/>
        <p:txBody>
          <a:bodyPr/>
          <a:lstStyle/>
          <a:p>
            <a:r>
              <a:rPr lang="de-DE" dirty="0"/>
              <a:t> Foto: © Weltalmanach, United </a:t>
            </a:r>
            <a:r>
              <a:rPr lang="de-DE" dirty="0" err="1"/>
              <a:t>Nations</a:t>
            </a:r>
            <a:r>
              <a:rPr lang="de-DE" dirty="0"/>
              <a:t> Development Programme </a:t>
            </a:r>
          </a:p>
        </p:txBody>
      </p:sp>
      <p:pic>
        <p:nvPicPr>
          <p:cNvPr id="10" name="Bildplatzhalter 9">
            <a:extLst>
              <a:ext uri="{FF2B5EF4-FFF2-40B4-BE49-F238E27FC236}">
                <a16:creationId xmlns:a16="http://schemas.microsoft.com/office/drawing/2014/main" id="{E9D7006D-4FB7-4671-AACF-BBDADEF16950}"/>
              </a:ext>
            </a:extLst>
          </p:cNvPr>
          <p:cNvPicPr>
            <a:picLocks noGrp="1" noChangeAspect="1"/>
          </p:cNvPicPr>
          <p:nvPr>
            <p:ph type="pic" sz="quarter" idx="18"/>
          </p:nvPr>
        </p:nvPicPr>
        <p:blipFill>
          <a:blip r:embed="rId7"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5698790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6BC315B-007F-4B83-B30C-81AD986E72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9008"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96BC315B-007F-4B83-B30C-81AD986E72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35D590-5062-47AC-B5D6-22A802FB12C0}"/>
              </a:ext>
            </a:extLst>
          </p:cNvPr>
          <p:cNvSpPr>
            <a:spLocks noGrp="1"/>
          </p:cNvSpPr>
          <p:nvPr>
            <p:ph type="title"/>
          </p:nvPr>
        </p:nvSpPr>
        <p:spPr>
          <a:xfrm>
            <a:off x="731839" y="69363"/>
            <a:ext cx="6216649" cy="533543"/>
          </a:xfrm>
        </p:spPr>
        <p:txBody>
          <a:bodyPr/>
          <a:lstStyle/>
          <a:p>
            <a:r>
              <a:rPr lang="de-DE" dirty="0"/>
              <a:t>Was unsere Partner vor Ort leisten</a:t>
            </a:r>
          </a:p>
        </p:txBody>
      </p:sp>
      <p:sp>
        <p:nvSpPr>
          <p:cNvPr id="13" name="Slide Number Placeholder 12">
            <a:extLst>
              <a:ext uri="{FF2B5EF4-FFF2-40B4-BE49-F238E27FC236}">
                <a16:creationId xmlns:a16="http://schemas.microsoft.com/office/drawing/2014/main" id="{7EBDD693-4402-4258-A5E8-21260FC7728B}"/>
              </a:ext>
            </a:extLst>
          </p:cNvPr>
          <p:cNvSpPr>
            <a:spLocks noGrp="1"/>
          </p:cNvSpPr>
          <p:nvPr>
            <p:ph type="sldNum" sz="quarter" idx="12"/>
          </p:nvPr>
        </p:nvSpPr>
        <p:spPr/>
        <p:txBody>
          <a:bodyPr/>
          <a:lstStyle/>
          <a:p>
            <a:fld id="{61A237A4-5F56-495D-ADE9-563CDE6DCB6B}" type="slidenum">
              <a:rPr lang="de-DE" smtClean="0"/>
              <a:pPr/>
              <a:t>5</a:t>
            </a:fld>
            <a:endParaRPr lang="de-DE"/>
          </a:p>
        </p:txBody>
      </p:sp>
      <p:sp>
        <p:nvSpPr>
          <p:cNvPr id="3" name="Text Placeholder 2">
            <a:extLst>
              <a:ext uri="{FF2B5EF4-FFF2-40B4-BE49-F238E27FC236}">
                <a16:creationId xmlns:a16="http://schemas.microsoft.com/office/drawing/2014/main" id="{D09D97CC-9731-4266-8D24-C7B3DB00B7F7}"/>
              </a:ext>
            </a:extLst>
          </p:cNvPr>
          <p:cNvSpPr>
            <a:spLocks noGrp="1"/>
          </p:cNvSpPr>
          <p:nvPr>
            <p:ph type="body" sz="quarter" idx="13"/>
          </p:nvPr>
        </p:nvSpPr>
        <p:spPr>
          <a:xfrm>
            <a:off x="733425" y="765353"/>
            <a:ext cx="3524021" cy="3762755"/>
          </a:xfrm>
        </p:spPr>
        <p:txBody>
          <a:bodyPr/>
          <a:lstStyle/>
          <a:p>
            <a:pPr marL="0" indent="0">
              <a:lnSpc>
                <a:spcPct val="150000"/>
              </a:lnSpc>
              <a:buNone/>
            </a:pPr>
            <a:r>
              <a:rPr lang="de-DE" sz="1200" dirty="0"/>
              <a:t>Für </a:t>
            </a:r>
            <a:r>
              <a:rPr lang="de-DE" sz="1200" dirty="0">
                <a:solidFill>
                  <a:srgbClr val="FF0000"/>
                </a:solidFill>
              </a:rPr>
              <a:t>wöchentlich 1.200 Kinder und Jugendliche </a:t>
            </a:r>
            <a:r>
              <a:rPr lang="de-DE" sz="1200" dirty="0"/>
              <a:t>sind die drei Kinder- und Jugendzentren der Salesianer Don Boscos in Damaskus, Aleppo und Kafroun ein sicherer Hafen. Hier bekommen Schulkinder </a:t>
            </a:r>
            <a:r>
              <a:rPr lang="de-DE" sz="1200" dirty="0">
                <a:solidFill>
                  <a:srgbClr val="FF0000"/>
                </a:solidFill>
              </a:rPr>
              <a:t>täglich Nachhilfeunterricht</a:t>
            </a:r>
            <a:r>
              <a:rPr lang="de-DE" sz="1200" dirty="0"/>
              <a:t> in Mathematik, Arabisch, Englisch, Physik. Sie können </a:t>
            </a:r>
            <a:r>
              <a:rPr lang="de-DE" sz="1200" dirty="0">
                <a:solidFill>
                  <a:srgbClr val="FF0000"/>
                </a:solidFill>
              </a:rPr>
              <a:t>musizieren, sportlich aktiv sein, sich mit Freunden austauschen </a:t>
            </a:r>
            <a:r>
              <a:rPr lang="de-DE" sz="1200" dirty="0"/>
              <a:t>und haben für einige Stunden die Möglichkeit, die Bilder des Krieges zu vergessen und einfach Kind zu sein. Sie erhalten auch eine </a:t>
            </a:r>
            <a:r>
              <a:rPr lang="de-DE" sz="1200" dirty="0">
                <a:solidFill>
                  <a:srgbClr val="FF0000"/>
                </a:solidFill>
              </a:rPr>
              <a:t>kleine Mahlzeit</a:t>
            </a:r>
            <a:r>
              <a:rPr lang="de-DE" sz="1200" dirty="0"/>
              <a:t> und haben </a:t>
            </a:r>
            <a:r>
              <a:rPr lang="de-DE" sz="1200" dirty="0">
                <a:solidFill>
                  <a:srgbClr val="FF0000"/>
                </a:solidFill>
              </a:rPr>
              <a:t>Platz, um zu lernen</a:t>
            </a:r>
            <a:r>
              <a:rPr lang="de-DE" sz="1200" dirty="0"/>
              <a:t>. Die Räumlichkeiten in den Zentren haben Strom und sind beheizt, was in Syrien keine Selbstverständlichkeit ist. </a:t>
            </a:r>
          </a:p>
        </p:txBody>
      </p:sp>
      <p:sp>
        <p:nvSpPr>
          <p:cNvPr id="12" name="Text Placeholder 11">
            <a:extLst>
              <a:ext uri="{FF2B5EF4-FFF2-40B4-BE49-F238E27FC236}">
                <a16:creationId xmlns:a16="http://schemas.microsoft.com/office/drawing/2014/main" id="{FE3848C3-6EB1-4DF5-8C7B-925B24B1D1E6}"/>
              </a:ext>
            </a:extLst>
          </p:cNvPr>
          <p:cNvSpPr>
            <a:spLocks noGrp="1"/>
          </p:cNvSpPr>
          <p:nvPr>
            <p:ph type="body" sz="quarter" idx="14"/>
          </p:nvPr>
        </p:nvSpPr>
        <p:spPr/>
        <p:txBody>
          <a:bodyPr/>
          <a:lstStyle/>
          <a:p>
            <a:r>
              <a:rPr lang="de-DE" dirty="0"/>
              <a:t>Foto: © Friedrich Stark/missio München</a:t>
            </a:r>
          </a:p>
        </p:txBody>
      </p:sp>
      <p:pic>
        <p:nvPicPr>
          <p:cNvPr id="9" name="Bildplatzhalter 8">
            <a:extLst>
              <a:ext uri="{FF2B5EF4-FFF2-40B4-BE49-F238E27FC236}">
                <a16:creationId xmlns:a16="http://schemas.microsoft.com/office/drawing/2014/main" id="{AA240C8F-FECB-4E21-831E-58AE3845755B}"/>
              </a:ext>
            </a:extLst>
          </p:cNvPr>
          <p:cNvPicPr>
            <a:picLocks noGrp="1" noChangeAspect="1"/>
          </p:cNvPicPr>
          <p:nvPr>
            <p:ph type="pic" sz="quarter" idx="18"/>
          </p:nvPr>
        </p:nvPicPr>
        <p:blipFill>
          <a:blip r:embed="rId7"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9782061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6BC315B-007F-4B83-B30C-81AD986E72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356" name="think-cell Slide" r:id="rId5" imgW="306" imgH="306" progId="TCLayout.ActiveDocument.1">
                  <p:embed/>
                </p:oleObj>
              </mc:Choice>
              <mc:Fallback>
                <p:oleObj name="think-cell Slide" r:id="rId5" imgW="306" imgH="306" progId="TCLayout.ActiveDocument.1">
                  <p:embed/>
                  <p:pic>
                    <p:nvPicPr>
                      <p:cNvPr id="6" name="Object 5" hidden="1">
                        <a:extLst>
                          <a:ext uri="{FF2B5EF4-FFF2-40B4-BE49-F238E27FC236}">
                            <a16:creationId xmlns:a16="http://schemas.microsoft.com/office/drawing/2014/main" id="{96BC315B-007F-4B83-B30C-81AD986E72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35D590-5062-47AC-B5D6-22A802FB12C0}"/>
              </a:ext>
            </a:extLst>
          </p:cNvPr>
          <p:cNvSpPr>
            <a:spLocks noGrp="1"/>
          </p:cNvSpPr>
          <p:nvPr>
            <p:ph type="title"/>
          </p:nvPr>
        </p:nvSpPr>
        <p:spPr>
          <a:xfrm>
            <a:off x="731839" y="69363"/>
            <a:ext cx="6216649" cy="533543"/>
          </a:xfrm>
        </p:spPr>
        <p:txBody>
          <a:bodyPr/>
          <a:lstStyle/>
          <a:p>
            <a:r>
              <a:rPr lang="de-DE" dirty="0"/>
              <a:t>Überblick über das Projekt</a:t>
            </a:r>
          </a:p>
        </p:txBody>
      </p:sp>
      <p:sp>
        <p:nvSpPr>
          <p:cNvPr id="13" name="Slide Number Placeholder 12">
            <a:extLst>
              <a:ext uri="{FF2B5EF4-FFF2-40B4-BE49-F238E27FC236}">
                <a16:creationId xmlns:a16="http://schemas.microsoft.com/office/drawing/2014/main" id="{7EBDD693-4402-4258-A5E8-21260FC7728B}"/>
              </a:ext>
            </a:extLst>
          </p:cNvPr>
          <p:cNvSpPr>
            <a:spLocks noGrp="1"/>
          </p:cNvSpPr>
          <p:nvPr>
            <p:ph type="sldNum" sz="quarter" idx="12"/>
          </p:nvPr>
        </p:nvSpPr>
        <p:spPr/>
        <p:txBody>
          <a:bodyPr/>
          <a:lstStyle/>
          <a:p>
            <a:fld id="{61A237A4-5F56-495D-ADE9-563CDE6DCB6B}" type="slidenum">
              <a:rPr lang="de-DE" smtClean="0"/>
              <a:pPr/>
              <a:t>6</a:t>
            </a:fld>
            <a:endParaRPr lang="de-DE"/>
          </a:p>
        </p:txBody>
      </p:sp>
      <p:sp>
        <p:nvSpPr>
          <p:cNvPr id="3" name="Text Placeholder 2">
            <a:extLst>
              <a:ext uri="{FF2B5EF4-FFF2-40B4-BE49-F238E27FC236}">
                <a16:creationId xmlns:a16="http://schemas.microsoft.com/office/drawing/2014/main" id="{D09D97CC-9731-4266-8D24-C7B3DB00B7F7}"/>
              </a:ext>
            </a:extLst>
          </p:cNvPr>
          <p:cNvSpPr>
            <a:spLocks noGrp="1"/>
          </p:cNvSpPr>
          <p:nvPr>
            <p:ph type="body" sz="quarter" idx="13"/>
          </p:nvPr>
        </p:nvSpPr>
        <p:spPr>
          <a:xfrm>
            <a:off x="733425" y="765353"/>
            <a:ext cx="3290888" cy="3762755"/>
          </a:xfrm>
        </p:spPr>
        <p:txBody>
          <a:bodyPr/>
          <a:lstStyle/>
          <a:p>
            <a:pPr marL="0" indent="0">
              <a:buNone/>
            </a:pPr>
            <a:r>
              <a:rPr lang="de-DE" sz="1000" b="1" dirty="0"/>
              <a:t>ZIELGRUPPE </a:t>
            </a:r>
          </a:p>
          <a:p>
            <a:r>
              <a:rPr lang="de-DE" sz="1000" dirty="0"/>
              <a:t>570 Kinder und Jugendliche aus dem Stadtteil </a:t>
            </a:r>
            <a:r>
              <a:rPr lang="de-DE" sz="1000" dirty="0" err="1"/>
              <a:t>Jaramana</a:t>
            </a:r>
            <a:r>
              <a:rPr lang="de-DE" sz="1000" dirty="0"/>
              <a:t> in Damaskus</a:t>
            </a:r>
          </a:p>
          <a:p>
            <a:r>
              <a:rPr lang="de-DE" sz="1000" dirty="0"/>
              <a:t>zwischen 8 und 17 Jahren, 120 Studierende sowie 25 junge Lehrkräfte</a:t>
            </a:r>
          </a:p>
          <a:p>
            <a:pPr marL="0" indent="0">
              <a:buNone/>
            </a:pPr>
            <a:r>
              <a:rPr lang="de-DE" sz="1000" b="1" dirty="0"/>
              <a:t>ZIEL</a:t>
            </a:r>
          </a:p>
          <a:p>
            <a:r>
              <a:rPr lang="de-DE" sz="1000" dirty="0"/>
              <a:t>Ermöglichen der Fortsetzung des Schulbesuchs bzw. des Studiums sowie </a:t>
            </a:r>
          </a:p>
          <a:p>
            <a:r>
              <a:rPr lang="de-DE" sz="1000" dirty="0"/>
              <a:t>sicherer und pädagogisch betreuter Freizeitaktivitäten </a:t>
            </a:r>
          </a:p>
          <a:p>
            <a:pPr marL="0" indent="0">
              <a:buNone/>
            </a:pPr>
            <a:r>
              <a:rPr lang="de-DE" sz="1000" b="1" dirty="0"/>
              <a:t>MASSNAHMEN</a:t>
            </a:r>
          </a:p>
          <a:p>
            <a:r>
              <a:rPr lang="de-DE" sz="1000" dirty="0"/>
              <a:t>individuelle schulische Unterstützung sowie Gruppenunterricht </a:t>
            </a:r>
          </a:p>
          <a:p>
            <a:r>
              <a:rPr lang="de-DE" sz="1000" dirty="0"/>
              <a:t>Übernahme der Schulgebühren für 350 Kinder </a:t>
            </a:r>
          </a:p>
          <a:p>
            <a:r>
              <a:rPr lang="de-DE" sz="1000" dirty="0"/>
              <a:t>Zugang zu sicheren und angemessen ausgestatteten Lernräumen für Studierende </a:t>
            </a:r>
          </a:p>
          <a:p>
            <a:r>
              <a:rPr lang="de-DE" sz="1000" dirty="0"/>
              <a:t>Freizeitaktivitäten wie Sport, Theater, Musik, Tanz, Malen und Kunsthandwerk </a:t>
            </a:r>
          </a:p>
        </p:txBody>
      </p:sp>
      <p:sp>
        <p:nvSpPr>
          <p:cNvPr id="12" name="Text Placeholder 11">
            <a:extLst>
              <a:ext uri="{FF2B5EF4-FFF2-40B4-BE49-F238E27FC236}">
                <a16:creationId xmlns:a16="http://schemas.microsoft.com/office/drawing/2014/main" id="{FE3848C3-6EB1-4DF5-8C7B-925B24B1D1E6}"/>
              </a:ext>
            </a:extLst>
          </p:cNvPr>
          <p:cNvSpPr>
            <a:spLocks noGrp="1"/>
          </p:cNvSpPr>
          <p:nvPr>
            <p:ph type="body" sz="quarter" idx="14"/>
          </p:nvPr>
        </p:nvSpPr>
        <p:spPr/>
        <p:txBody>
          <a:bodyPr/>
          <a:lstStyle/>
          <a:p>
            <a:r>
              <a:rPr lang="de-DE" dirty="0"/>
              <a:t>Foto: © Friedrich Stark/missio München</a:t>
            </a:r>
          </a:p>
        </p:txBody>
      </p:sp>
      <p:pic>
        <p:nvPicPr>
          <p:cNvPr id="8" name="Bildplatzhalter 7">
            <a:extLst>
              <a:ext uri="{FF2B5EF4-FFF2-40B4-BE49-F238E27FC236}">
                <a16:creationId xmlns:a16="http://schemas.microsoft.com/office/drawing/2014/main" id="{53657952-29A5-463D-A136-5899246C58EF}"/>
              </a:ext>
            </a:extLst>
          </p:cNvPr>
          <p:cNvPicPr>
            <a:picLocks noGrp="1" noChangeAspect="1"/>
          </p:cNvPicPr>
          <p:nvPr>
            <p:ph type="pic" sz="quarter" idx="18"/>
          </p:nvPr>
        </p:nvPicPr>
        <p:blipFill>
          <a:blip r:embed="rId7"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4385564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EF00C6-E637-4264-940D-2099361149F7}"/>
              </a:ext>
            </a:extLst>
          </p:cNvPr>
          <p:cNvSpPr>
            <a:spLocks noGrp="1"/>
          </p:cNvSpPr>
          <p:nvPr>
            <p:ph type="title"/>
          </p:nvPr>
        </p:nvSpPr>
        <p:spPr/>
        <p:txBody>
          <a:bodyPr/>
          <a:lstStyle/>
          <a:p>
            <a:r>
              <a:rPr lang="de-DE" dirty="0"/>
              <a:t>Film ab! – Impressionen aus dem Projekt </a:t>
            </a:r>
          </a:p>
        </p:txBody>
      </p:sp>
      <p:sp>
        <p:nvSpPr>
          <p:cNvPr id="3" name="Foliennummernplatzhalter 2">
            <a:extLst>
              <a:ext uri="{FF2B5EF4-FFF2-40B4-BE49-F238E27FC236}">
                <a16:creationId xmlns:a16="http://schemas.microsoft.com/office/drawing/2014/main" id="{2A4FF140-1621-41CF-801E-494781E91CDF}"/>
              </a:ext>
            </a:extLst>
          </p:cNvPr>
          <p:cNvSpPr>
            <a:spLocks noGrp="1"/>
          </p:cNvSpPr>
          <p:nvPr>
            <p:ph type="sldNum" sz="quarter" idx="12"/>
          </p:nvPr>
        </p:nvSpPr>
        <p:spPr/>
        <p:txBody>
          <a:bodyPr/>
          <a:lstStyle/>
          <a:p>
            <a:fld id="{61A237A4-5F56-495D-ADE9-563CDE6DCB6B}" type="slidenum">
              <a:rPr lang="de-DE" smtClean="0"/>
              <a:pPr/>
              <a:t>7</a:t>
            </a:fld>
            <a:endParaRPr lang="de-DE" dirty="0"/>
          </a:p>
        </p:txBody>
      </p:sp>
      <p:sp>
        <p:nvSpPr>
          <p:cNvPr id="4" name="Textplatzhalter 3">
            <a:extLst>
              <a:ext uri="{FF2B5EF4-FFF2-40B4-BE49-F238E27FC236}">
                <a16:creationId xmlns:a16="http://schemas.microsoft.com/office/drawing/2014/main" id="{4C5C1254-F548-4F70-81F2-3A8542996258}"/>
              </a:ext>
            </a:extLst>
          </p:cNvPr>
          <p:cNvSpPr>
            <a:spLocks noGrp="1"/>
          </p:cNvSpPr>
          <p:nvPr>
            <p:ph type="body" sz="quarter" idx="13"/>
          </p:nvPr>
        </p:nvSpPr>
        <p:spPr>
          <a:xfrm>
            <a:off x="733425" y="1394961"/>
            <a:ext cx="3290888" cy="3132590"/>
          </a:xfrm>
        </p:spPr>
        <p:txBody>
          <a:bodyPr/>
          <a:lstStyle/>
          <a:p>
            <a:pPr marL="0" indent="0">
              <a:buNone/>
            </a:pPr>
            <a:r>
              <a:rPr lang="de-DE" dirty="0"/>
              <a:t>Macht euch selbst einen Eindruck und seht euch das Video zum Projekt an!</a:t>
            </a:r>
          </a:p>
          <a:p>
            <a:pPr marL="0" indent="0">
              <a:buNone/>
            </a:pPr>
            <a:endParaRPr lang="de-DE" dirty="0"/>
          </a:p>
          <a:p>
            <a:pPr marL="0" indent="0">
              <a:buNone/>
            </a:pPr>
            <a:r>
              <a:rPr lang="de-DE" sz="1600" b="1" dirty="0">
                <a:solidFill>
                  <a:srgbClr val="FF0000"/>
                </a:solidFill>
                <a:hlinkClick r:id="rId2">
                  <a:extLst>
                    <a:ext uri="{A12FA001-AC4F-418D-AE19-62706E023703}">
                      <ahyp:hlinkClr xmlns:ahyp="http://schemas.microsoft.com/office/drawing/2018/hyperlinkcolor" val="tx"/>
                    </a:ext>
                  </a:extLst>
                </a:hlinkClick>
              </a:rPr>
              <a:t>Syrien – Eine Generation kämpft um ihre Zukunft</a:t>
            </a:r>
            <a:endParaRPr lang="de-DE" sz="1600" b="1" dirty="0">
              <a:solidFill>
                <a:srgbClr val="FF0000"/>
              </a:solidFill>
            </a:endParaRPr>
          </a:p>
          <a:p>
            <a:pPr marL="0" indent="0">
              <a:buNone/>
            </a:pPr>
            <a:endParaRPr lang="de-DE" sz="1600" b="1" dirty="0">
              <a:solidFill>
                <a:srgbClr val="FF0000"/>
              </a:solidFill>
            </a:endParaRPr>
          </a:p>
          <a:p>
            <a:pPr marL="0" indent="0">
              <a:buNone/>
            </a:pPr>
            <a:r>
              <a:rPr lang="de-DE" sz="1200" dirty="0">
                <a:hlinkClick r:id="rId2"/>
              </a:rPr>
              <a:t>https://www.youtube.com/watch?v=cQbgvhjmcQ0</a:t>
            </a:r>
            <a:r>
              <a:rPr lang="de-DE" sz="1200" dirty="0"/>
              <a:t> </a:t>
            </a:r>
          </a:p>
        </p:txBody>
      </p:sp>
      <p:sp>
        <p:nvSpPr>
          <p:cNvPr id="5" name="Textplatzhalter 4">
            <a:extLst>
              <a:ext uri="{FF2B5EF4-FFF2-40B4-BE49-F238E27FC236}">
                <a16:creationId xmlns:a16="http://schemas.microsoft.com/office/drawing/2014/main" id="{4204949C-1499-44A4-B3F6-9C9D3019EACE}"/>
              </a:ext>
            </a:extLst>
          </p:cNvPr>
          <p:cNvSpPr>
            <a:spLocks noGrp="1"/>
          </p:cNvSpPr>
          <p:nvPr>
            <p:ph type="body" sz="quarter" idx="14"/>
          </p:nvPr>
        </p:nvSpPr>
        <p:spPr/>
        <p:txBody>
          <a:bodyPr/>
          <a:lstStyle/>
          <a:p>
            <a:r>
              <a:rPr lang="de-DE" dirty="0"/>
              <a:t>Foto: © missio München</a:t>
            </a:r>
          </a:p>
        </p:txBody>
      </p:sp>
      <p:pic>
        <p:nvPicPr>
          <p:cNvPr id="12" name="Bildplatzhalter 11">
            <a:extLst>
              <a:ext uri="{FF2B5EF4-FFF2-40B4-BE49-F238E27FC236}">
                <a16:creationId xmlns:a16="http://schemas.microsoft.com/office/drawing/2014/main" id="{165FE3D4-AA85-4EF1-8048-8AE9732E2C14}"/>
              </a:ext>
            </a:extLst>
          </p:cNvPr>
          <p:cNvPicPr>
            <a:picLocks noGrp="1" noChangeAspect="1"/>
          </p:cNvPicPr>
          <p:nvPr>
            <p:ph type="pic" sz="quarter" idx="18"/>
          </p:nvPr>
        </p:nvPicPr>
        <p:blipFill>
          <a:blip r:embed="rId3" cstate="screen">
            <a:extLst>
              <a:ext uri="{28A0092B-C50C-407E-A947-70E740481C1C}">
                <a14:useLocalDpi xmlns:a14="http://schemas.microsoft.com/office/drawing/2010/main"/>
              </a:ext>
            </a:extLst>
          </a:blip>
          <a:srcRect/>
          <a:stretch>
            <a:fillRect/>
          </a:stretch>
        </p:blipFill>
        <p:spPr/>
      </p:pic>
      <p:sp>
        <p:nvSpPr>
          <p:cNvPr id="13" name="Interaktive Schaltfläche: Nächste(r) oder Weiter 12">
            <a:hlinkClick r:id="rId2" highlightClick="1"/>
            <a:extLst>
              <a:ext uri="{FF2B5EF4-FFF2-40B4-BE49-F238E27FC236}">
                <a16:creationId xmlns:a16="http://schemas.microsoft.com/office/drawing/2014/main" id="{5BB9B8F9-FE8F-42C0-9506-AC4DAA7F3DE0}"/>
              </a:ext>
            </a:extLst>
          </p:cNvPr>
          <p:cNvSpPr/>
          <p:nvPr/>
        </p:nvSpPr>
        <p:spPr>
          <a:xfrm>
            <a:off x="6280660" y="2095778"/>
            <a:ext cx="987819" cy="907726"/>
          </a:xfrm>
          <a:prstGeom prst="actionButtonForwardNex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solidFill>
                <a:schemeClr val="tx1"/>
              </a:solidFill>
            </a:endParaRPr>
          </a:p>
        </p:txBody>
      </p:sp>
    </p:spTree>
    <p:extLst>
      <p:ext uri="{BB962C8B-B14F-4D97-AF65-F5344CB8AC3E}">
        <p14:creationId xmlns:p14="http://schemas.microsoft.com/office/powerpoint/2010/main" val="41006101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A66AE-B72F-4CA4-8906-0585A10F3873}"/>
              </a:ext>
            </a:extLst>
          </p:cNvPr>
          <p:cNvSpPr>
            <a:spLocks noGrp="1"/>
          </p:cNvSpPr>
          <p:nvPr>
            <p:ph type="title"/>
          </p:nvPr>
        </p:nvSpPr>
        <p:spPr/>
        <p:txBody>
          <a:bodyPr/>
          <a:lstStyle/>
          <a:p>
            <a:r>
              <a:rPr lang="de-DE" dirty="0"/>
              <a:t>Kicken verbindet</a:t>
            </a:r>
          </a:p>
        </p:txBody>
      </p:sp>
      <p:sp>
        <p:nvSpPr>
          <p:cNvPr id="3" name="Foliennummernplatzhalter 2">
            <a:extLst>
              <a:ext uri="{FF2B5EF4-FFF2-40B4-BE49-F238E27FC236}">
                <a16:creationId xmlns:a16="http://schemas.microsoft.com/office/drawing/2014/main" id="{8A6354CF-A4C8-4689-9CA5-961E0288A43B}"/>
              </a:ext>
            </a:extLst>
          </p:cNvPr>
          <p:cNvSpPr>
            <a:spLocks noGrp="1"/>
          </p:cNvSpPr>
          <p:nvPr>
            <p:ph type="sldNum" sz="quarter" idx="12"/>
          </p:nvPr>
        </p:nvSpPr>
        <p:spPr/>
        <p:txBody>
          <a:bodyPr/>
          <a:lstStyle/>
          <a:p>
            <a:fld id="{61A237A4-5F56-495D-ADE9-563CDE6DCB6B}" type="slidenum">
              <a:rPr lang="de-DE" smtClean="0"/>
              <a:pPr/>
              <a:t>8</a:t>
            </a:fld>
            <a:endParaRPr lang="de-DE" dirty="0"/>
          </a:p>
        </p:txBody>
      </p:sp>
      <p:sp>
        <p:nvSpPr>
          <p:cNvPr id="4" name="Textplatzhalter 3">
            <a:extLst>
              <a:ext uri="{FF2B5EF4-FFF2-40B4-BE49-F238E27FC236}">
                <a16:creationId xmlns:a16="http://schemas.microsoft.com/office/drawing/2014/main" id="{0CA43465-1807-47EB-8CA4-D6E51598E1C1}"/>
              </a:ext>
            </a:extLst>
          </p:cNvPr>
          <p:cNvSpPr>
            <a:spLocks noGrp="1"/>
          </p:cNvSpPr>
          <p:nvPr>
            <p:ph type="body" sz="quarter" idx="13"/>
          </p:nvPr>
        </p:nvSpPr>
        <p:spPr/>
        <p:txBody>
          <a:bodyPr/>
          <a:lstStyle/>
          <a:p>
            <a:pPr marL="0" indent="0">
              <a:buNone/>
            </a:pPr>
            <a:r>
              <a:rPr lang="de-DE" dirty="0"/>
              <a:t>Im Rahmen der Aktion </a:t>
            </a:r>
          </a:p>
          <a:p>
            <a:pPr marL="0" indent="0">
              <a:buNone/>
            </a:pPr>
            <a:r>
              <a:rPr lang="de-DE" dirty="0"/>
              <a:t>„</a:t>
            </a:r>
            <a:r>
              <a:rPr lang="de-DE" b="1" dirty="0">
                <a:solidFill>
                  <a:srgbClr val="FF0000"/>
                </a:solidFill>
              </a:rPr>
              <a:t>Kick for Unity – be part of it</a:t>
            </a:r>
            <a:r>
              <a:rPr lang="de-DE" dirty="0"/>
              <a:t>“ </a:t>
            </a:r>
          </a:p>
          <a:p>
            <a:pPr marL="0" indent="0">
              <a:buNone/>
            </a:pPr>
            <a:r>
              <a:rPr lang="de-DE" dirty="0"/>
              <a:t>setzen wir ein Zeichen der Solidarität und sammeln Spenden für benachteiligte Jugendliche, die z. B. im Don-Bosco-Zentrum in Damaskus Sport- und Freizeitangebote erhalten und dadurch ihren Wert und ein Gemeinschaftsgefühl erfahren können. </a:t>
            </a:r>
          </a:p>
          <a:p>
            <a:pPr marL="0" indent="0">
              <a:buNone/>
            </a:pPr>
            <a:r>
              <a:rPr lang="de-DE" sz="1800" b="1" dirty="0">
                <a:solidFill>
                  <a:srgbClr val="FF0000"/>
                </a:solidFill>
              </a:rPr>
              <a:t>Macht mit und werdet Teil!</a:t>
            </a:r>
          </a:p>
          <a:p>
            <a:pPr marL="0" indent="0">
              <a:buNone/>
            </a:pPr>
            <a:endParaRPr lang="de-DE" dirty="0"/>
          </a:p>
          <a:p>
            <a:pPr marL="0" indent="0">
              <a:buNone/>
            </a:pPr>
            <a:r>
              <a:rPr lang="de-DE" dirty="0"/>
              <a:t>Mehr Infos zur Aktion findet ihr unter</a:t>
            </a:r>
          </a:p>
          <a:p>
            <a:pPr marL="0" indent="0">
              <a:buNone/>
            </a:pPr>
            <a:r>
              <a:rPr lang="de-DE" u="sng" dirty="0">
                <a:hlinkClick r:id="rId2"/>
              </a:rPr>
              <a:t>https://www.missio.com/kick-for-unity</a:t>
            </a:r>
            <a:endParaRPr lang="de-DE" dirty="0"/>
          </a:p>
          <a:p>
            <a:pPr marL="0" indent="0">
              <a:buNone/>
            </a:pPr>
            <a:endParaRPr lang="de-DE" dirty="0"/>
          </a:p>
          <a:p>
            <a:pPr marL="0" indent="0">
              <a:buNone/>
            </a:pPr>
            <a:endParaRPr lang="de-DE" dirty="0"/>
          </a:p>
        </p:txBody>
      </p:sp>
      <p:sp>
        <p:nvSpPr>
          <p:cNvPr id="5" name="Textplatzhalter 4">
            <a:extLst>
              <a:ext uri="{FF2B5EF4-FFF2-40B4-BE49-F238E27FC236}">
                <a16:creationId xmlns:a16="http://schemas.microsoft.com/office/drawing/2014/main" id="{97D95473-8637-4341-BF61-82723DD641EA}"/>
              </a:ext>
            </a:extLst>
          </p:cNvPr>
          <p:cNvSpPr>
            <a:spLocks noGrp="1"/>
          </p:cNvSpPr>
          <p:nvPr>
            <p:ph type="body" sz="quarter" idx="14"/>
          </p:nvPr>
        </p:nvSpPr>
        <p:spPr/>
        <p:txBody>
          <a:bodyPr/>
          <a:lstStyle/>
          <a:p>
            <a:r>
              <a:rPr lang="de-DE" dirty="0"/>
              <a:t>Foto: © </a:t>
            </a:r>
            <a:r>
              <a:rPr lang="de-DE" dirty="0" err="1"/>
              <a:t>Istock</a:t>
            </a:r>
            <a:r>
              <a:rPr lang="de-DE" dirty="0"/>
              <a:t> </a:t>
            </a:r>
            <a:r>
              <a:rPr lang="de-DE" dirty="0" err="1"/>
              <a:t>PeopleImages</a:t>
            </a:r>
            <a:endParaRPr lang="de-DE" dirty="0"/>
          </a:p>
        </p:txBody>
      </p:sp>
      <p:pic>
        <p:nvPicPr>
          <p:cNvPr id="8" name="Bildplatzhalter 7">
            <a:extLst>
              <a:ext uri="{FF2B5EF4-FFF2-40B4-BE49-F238E27FC236}">
                <a16:creationId xmlns:a16="http://schemas.microsoft.com/office/drawing/2014/main" id="{2A936D8E-2BC7-4D2E-B905-B9BB09C20D73}"/>
              </a:ext>
            </a:extLst>
          </p:cNvPr>
          <p:cNvPicPr>
            <a:picLocks noGrp="1" noChangeAspect="1"/>
          </p:cNvPicPr>
          <p:nvPr>
            <p:ph type="pic" sz="quarter" idx="18"/>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9434615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925D45-39E5-4531-9C52-1E88039384D6}"/>
              </a:ext>
            </a:extLst>
          </p:cNvPr>
          <p:cNvSpPr>
            <a:spLocks noGrp="1"/>
          </p:cNvSpPr>
          <p:nvPr>
            <p:ph type="title"/>
          </p:nvPr>
        </p:nvSpPr>
        <p:spPr/>
        <p:txBody>
          <a:bodyPr/>
          <a:lstStyle/>
          <a:p>
            <a:endParaRPr lang="de-DE" dirty="0"/>
          </a:p>
        </p:txBody>
      </p:sp>
      <p:sp>
        <p:nvSpPr>
          <p:cNvPr id="3" name="Foliennummernplatzhalter 2">
            <a:extLst>
              <a:ext uri="{FF2B5EF4-FFF2-40B4-BE49-F238E27FC236}">
                <a16:creationId xmlns:a16="http://schemas.microsoft.com/office/drawing/2014/main" id="{80C5C0B5-FB6D-4497-B91B-887A11FDB1F5}"/>
              </a:ext>
            </a:extLst>
          </p:cNvPr>
          <p:cNvSpPr>
            <a:spLocks noGrp="1"/>
          </p:cNvSpPr>
          <p:nvPr>
            <p:ph type="sldNum" sz="quarter" idx="12"/>
          </p:nvPr>
        </p:nvSpPr>
        <p:spPr/>
        <p:txBody>
          <a:bodyPr/>
          <a:lstStyle/>
          <a:p>
            <a:fld id="{61A237A4-5F56-495D-ADE9-563CDE6DCB6B}" type="slidenum">
              <a:rPr lang="de-DE" smtClean="0"/>
              <a:pPr/>
              <a:t>9</a:t>
            </a:fld>
            <a:endParaRPr lang="de-DE" dirty="0"/>
          </a:p>
        </p:txBody>
      </p:sp>
      <p:sp>
        <p:nvSpPr>
          <p:cNvPr id="4" name="Textplatzhalter 3">
            <a:extLst>
              <a:ext uri="{FF2B5EF4-FFF2-40B4-BE49-F238E27FC236}">
                <a16:creationId xmlns:a16="http://schemas.microsoft.com/office/drawing/2014/main" id="{1E393973-113D-4D01-A8F6-8D9652CE1937}"/>
              </a:ext>
            </a:extLst>
          </p:cNvPr>
          <p:cNvSpPr>
            <a:spLocks noGrp="1"/>
          </p:cNvSpPr>
          <p:nvPr>
            <p:ph type="body" sz="quarter" idx="13"/>
          </p:nvPr>
        </p:nvSpPr>
        <p:spPr/>
        <p:txBody>
          <a:bodyPr/>
          <a:lstStyle/>
          <a:p>
            <a:pPr marL="0" indent="0">
              <a:buNone/>
            </a:pPr>
            <a:r>
              <a:rPr lang="de-DE" i="1" dirty="0">
                <a:solidFill>
                  <a:srgbClr val="FFFF00"/>
                </a:solidFill>
              </a:rPr>
              <a:t>Hier könnt ihr alles weitere einfügen, was euch wichtig ist und ihr euch für eure Schulspendenaktion überlegt habt! Ebenso könnt ihr den Link zur Spendenseite nutzen: </a:t>
            </a:r>
            <a:r>
              <a:rPr lang="de-DE" i="1" dirty="0">
                <a:solidFill>
                  <a:srgbClr val="FFFF00"/>
                </a:solidFill>
                <a:hlinkClick r:id="rId2"/>
              </a:rPr>
              <a:t>https://www.missio.com/helfen/spende-kick-for-unity</a:t>
            </a:r>
            <a:r>
              <a:rPr lang="de-DE" i="1" dirty="0">
                <a:solidFill>
                  <a:srgbClr val="FFFF00"/>
                </a:solidFill>
              </a:rPr>
              <a:t> </a:t>
            </a:r>
          </a:p>
        </p:txBody>
      </p:sp>
      <p:sp>
        <p:nvSpPr>
          <p:cNvPr id="5" name="Textplatzhalter 4">
            <a:extLst>
              <a:ext uri="{FF2B5EF4-FFF2-40B4-BE49-F238E27FC236}">
                <a16:creationId xmlns:a16="http://schemas.microsoft.com/office/drawing/2014/main" id="{85838D83-44EE-414F-AA7B-BF2EFDB772FA}"/>
              </a:ext>
            </a:extLst>
          </p:cNvPr>
          <p:cNvSpPr>
            <a:spLocks noGrp="1"/>
          </p:cNvSpPr>
          <p:nvPr>
            <p:ph type="body" sz="quarter" idx="14"/>
          </p:nvPr>
        </p:nvSpPr>
        <p:spPr/>
        <p:txBody>
          <a:bodyPr/>
          <a:lstStyle/>
          <a:p>
            <a:endParaRPr lang="de-DE"/>
          </a:p>
        </p:txBody>
      </p:sp>
      <p:sp>
        <p:nvSpPr>
          <p:cNvPr id="6" name="Bildplatzhalter 5">
            <a:extLst>
              <a:ext uri="{FF2B5EF4-FFF2-40B4-BE49-F238E27FC236}">
                <a16:creationId xmlns:a16="http://schemas.microsoft.com/office/drawing/2014/main" id="{BEBD3CF1-2361-43F2-B24E-5042443E8874}"/>
              </a:ext>
            </a:extLst>
          </p:cNvPr>
          <p:cNvSpPr>
            <a:spLocks noGrp="1"/>
          </p:cNvSpPr>
          <p:nvPr>
            <p:ph type="pic" sz="quarter" idx="18"/>
          </p:nvPr>
        </p:nvSpPr>
        <p:spPr/>
      </p:sp>
    </p:spTree>
    <p:extLst>
      <p:ext uri="{BB962C8B-B14F-4D97-AF65-F5344CB8AC3E}">
        <p14:creationId xmlns:p14="http://schemas.microsoft.com/office/powerpoint/2010/main" val="2258786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SSIO / Master 2022">
  <a:themeElements>
    <a:clrScheme name="Custom 339">
      <a:dk1>
        <a:sysClr val="windowText" lastClr="000000"/>
      </a:dk1>
      <a:lt1>
        <a:sysClr val="window" lastClr="FFFFFF"/>
      </a:lt1>
      <a:dk2>
        <a:srgbClr val="EADCC9"/>
      </a:dk2>
      <a:lt2>
        <a:srgbClr val="F6F2EA"/>
      </a:lt2>
      <a:accent1>
        <a:srgbClr val="48787F"/>
      </a:accent1>
      <a:accent2>
        <a:srgbClr val="D1E8EF"/>
      </a:accent2>
      <a:accent3>
        <a:srgbClr val="6DB7C2"/>
      </a:accent3>
      <a:accent4>
        <a:srgbClr val="5D98A1"/>
      </a:accent4>
      <a:accent5>
        <a:srgbClr val="53888F"/>
      </a:accent5>
      <a:accent6>
        <a:srgbClr val="E30613"/>
      </a:accent6>
      <a:hlink>
        <a:srgbClr val="000000"/>
      </a:hlink>
      <a:folHlink>
        <a:srgbClr val="000000"/>
      </a:folHlink>
    </a:clrScheme>
    <a:fontScheme name="Custom 189">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noAutofit/>
      </a:bodyPr>
      <a:lstStyle>
        <a:defPPr marL="225425" indent="-225425" algn="l">
          <a:spcAft>
            <a:spcPts val="800"/>
          </a:spcAft>
          <a:buClr>
            <a:schemeClr val="accent6"/>
          </a:buClr>
          <a:buSzPct val="110000"/>
          <a:buFont typeface="Arial" panose="020B0604020202020204" pitchFamily="34" charset="0"/>
          <a:buChar char="•"/>
          <a:defRPr sz="1400" dirty="0" err="1" smtClean="0"/>
        </a:defPPr>
      </a:lstStyle>
    </a:txDef>
  </a:objectDefaults>
  <a:extraClrSchemeLst/>
  <a:extLst>
    <a:ext uri="{05A4C25C-085E-4340-85A3-A5531E510DB2}">
      <thm15:themeFamily xmlns:thm15="http://schemas.microsoft.com/office/thememl/2012/main" name="V15EK_20220204_FH_MISSIO01_Master" id="{A18899E3-DA0E-8849-8F28-315AD5FC8DBA}" vid="{10D431A8-8224-ED48-BF39-55D771EADE8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1B3E03881840B4488576E9818E001BB2" ma:contentTypeVersion="0" ma:contentTypeDescription="Ein neues Dokument erstellen." ma:contentTypeScope="" ma:versionID="b7460895324fe349126bec25fcd35d0d">
  <xsd:schema xmlns:xsd="http://www.w3.org/2001/XMLSchema" xmlns:p="http://schemas.microsoft.com/office/2006/metadata/properties" targetNamespace="http://schemas.microsoft.com/office/2006/metadata/properties" ma:root="true" ma:fieldsID="246f02dd96380beb4f7cdcce14d77fd6">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ma:readOnly="tru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8BA204E-1B3F-4FA8-ADDD-F2E08B0FFAE5}">
  <ds:schemaRefs>
    <ds:schemaRef ds:uri="http://www.w3.org/XML/1998/namespace"/>
    <ds:schemaRef ds:uri="http://purl.org/dc/elements/1.1/"/>
    <ds:schemaRef ds:uri="http://schemas.microsoft.com/office/2006/metadata/properties"/>
    <ds:schemaRef ds:uri="http://schemas.openxmlformats.org/package/2006/metadata/core-properties"/>
    <ds:schemaRef ds:uri="http://schemas.microsoft.com/office/2006/documentManagement/types"/>
    <ds:schemaRef ds:uri="http://purl.org/dc/dcmitype/"/>
    <ds:schemaRef ds:uri="http://purl.org/dc/terms/"/>
  </ds:schemaRefs>
</ds:datastoreItem>
</file>

<file path=customXml/itemProps2.xml><?xml version="1.0" encoding="utf-8"?>
<ds:datastoreItem xmlns:ds="http://schemas.openxmlformats.org/officeDocument/2006/customXml" ds:itemID="{DA2312E0-D485-45AB-89D0-4C8A6F9188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2EEF29CA-B578-4635-8F72-701F29483FD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ster</Template>
  <TotalTime>0</TotalTime>
  <Words>647</Words>
  <Application>Microsoft Office PowerPoint</Application>
  <PresentationFormat>Bildschirmpräsentation (16:9)</PresentationFormat>
  <Paragraphs>65</Paragraphs>
  <Slides>10</Slides>
  <Notes>6</Notes>
  <HiddenSlides>0</HiddenSlides>
  <MMClips>0</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10</vt:i4>
      </vt:variant>
    </vt:vector>
  </HeadingPairs>
  <TitlesOfParts>
    <vt:vector size="14" baseType="lpstr">
      <vt:lpstr>Arial</vt:lpstr>
      <vt:lpstr>Calibri</vt:lpstr>
      <vt:lpstr>MISSIO / Master 2022</vt:lpstr>
      <vt:lpstr>think-cell Slide</vt:lpstr>
      <vt:lpstr>Kinder- und Jugendzentrum  der Salesianer Don-Bosco  in Damaskus, Syrien</vt:lpstr>
      <vt:lpstr>Lernen, Spielen und Gemeinschaft erfahren in einem sicheren Umfeld für  Kinder und Jugendliche  </vt:lpstr>
      <vt:lpstr>Die Salesianer Don Boscos in Damaskus</vt:lpstr>
      <vt:lpstr>Die Situation vor Ort</vt:lpstr>
      <vt:lpstr>Was unsere Partner vor Ort leisten</vt:lpstr>
      <vt:lpstr>Überblick über das Projekt</vt:lpstr>
      <vt:lpstr>Film ab! – Impressionen aus dem Projekt </vt:lpstr>
      <vt:lpstr>Kicken verbindet</vt:lpstr>
      <vt:lpstr>PowerPoint-Präsentation</vt:lpstr>
      <vt:lpstr>Danke für eure unterstützu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stitel, max zweizeilig lorem ipsum dolor sit amet</dc:title>
  <dc:creator>van de Wetering Annette</dc:creator>
  <cp:lastModifiedBy>Frech Tanja</cp:lastModifiedBy>
  <cp:revision>26</cp:revision>
  <cp:lastPrinted>2024-04-04T08:53:17Z</cp:lastPrinted>
  <dcterms:created xsi:type="dcterms:W3CDTF">2023-09-18T07:42:02Z</dcterms:created>
  <dcterms:modified xsi:type="dcterms:W3CDTF">2024-04-09T13:52:27Z</dcterms:modified>
</cp:coreProperties>
</file>